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  <p:sldMasterId id="2147483711" r:id="rId5"/>
  </p:sldMasterIdLst>
  <p:notesMasterIdLst>
    <p:notesMasterId r:id="rId10"/>
  </p:notesMasterIdLst>
  <p:sldIdLst>
    <p:sldId id="269" r:id="rId6"/>
    <p:sldId id="2147375843" r:id="rId7"/>
    <p:sldId id="2147375841" r:id="rId8"/>
    <p:sldId id="2147375823" r:id="rId9"/>
  </p:sldIdLst>
  <p:sldSz cx="12192000" cy="6858000"/>
  <p:notesSz cx="6858000" cy="9144000"/>
  <p:custDataLst>
    <p:tags r:id="rId1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BDDF"/>
    <a:srgbClr val="0D123B"/>
    <a:srgbClr val="5290C9"/>
    <a:srgbClr val="464A69"/>
    <a:srgbClr val="5492CD"/>
    <a:srgbClr val="0D133B"/>
    <a:srgbClr val="0D12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5967F1-B160-4524-8F8D-105276C1988B}" v="71342" dt="2022-05-20T11:32:32.588"/>
    <p1510:client id="{94293865-27CB-4CCE-A49E-CBFD52BCCD90}" v="83055" dt="2022-05-20T11:28:41.6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512" y="-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gela Liebana Medina" userId="33f3cdfd-f8b7-498b-b8ec-0f5ed21f0b4a" providerId="ADAL" clId="{94293865-27CB-4CCE-A49E-CBFD52BCCD90}"/>
    <pc:docChg chg="undo redo custSel addSld delSld modSld sldOrd">
      <pc:chgData name="Angela Liebana Medina" userId="33f3cdfd-f8b7-498b-b8ec-0f5ed21f0b4a" providerId="ADAL" clId="{94293865-27CB-4CCE-A49E-CBFD52BCCD90}" dt="2022-05-20T11:28:40.810" v="3019" actId="1076"/>
      <pc:docMkLst>
        <pc:docMk/>
      </pc:docMkLst>
      <pc:sldChg chg="modSp mod">
        <pc:chgData name="Angela Liebana Medina" userId="33f3cdfd-f8b7-498b-b8ec-0f5ed21f0b4a" providerId="ADAL" clId="{94293865-27CB-4CCE-A49E-CBFD52BCCD90}" dt="2022-05-20T07:44:13.038" v="3" actId="20577"/>
        <pc:sldMkLst>
          <pc:docMk/>
          <pc:sldMk cId="1542755390" sldId="269"/>
        </pc:sldMkLst>
        <pc:spChg chg="mod">
          <ac:chgData name="Angela Liebana Medina" userId="33f3cdfd-f8b7-498b-b8ec-0f5ed21f0b4a" providerId="ADAL" clId="{94293865-27CB-4CCE-A49E-CBFD52BCCD90}" dt="2022-05-20T07:44:13.038" v="3" actId="20577"/>
          <ac:spMkLst>
            <pc:docMk/>
            <pc:sldMk cId="1542755390" sldId="269"/>
            <ac:spMk id="7" creationId="{D184A763-02A6-4822-A5F0-D9E80A5D8061}"/>
          </ac:spMkLst>
        </pc:spChg>
      </pc:sldChg>
      <pc:sldChg chg="addSp delSp modSp add del mod">
        <pc:chgData name="Angela Liebana Medina" userId="33f3cdfd-f8b7-498b-b8ec-0f5ed21f0b4a" providerId="ADAL" clId="{94293865-27CB-4CCE-A49E-CBFD52BCCD90}" dt="2022-05-20T10:27:03.131" v="2272" actId="47"/>
        <pc:sldMkLst>
          <pc:docMk/>
          <pc:sldMk cId="2238744592" sldId="2147375830"/>
        </pc:sldMkLst>
        <pc:spChg chg="del">
          <ac:chgData name="Angela Liebana Medina" userId="33f3cdfd-f8b7-498b-b8ec-0f5ed21f0b4a" providerId="ADAL" clId="{94293865-27CB-4CCE-A49E-CBFD52BCCD90}" dt="2022-05-20T07:46:55.455" v="13" actId="478"/>
          <ac:spMkLst>
            <pc:docMk/>
            <pc:sldMk cId="2238744592" sldId="2147375830"/>
            <ac:spMk id="2" creationId="{00000000-0000-0000-0000-000000000000}"/>
          </ac:spMkLst>
        </pc:spChg>
        <pc:spChg chg="add mod">
          <ac:chgData name="Angela Liebana Medina" userId="33f3cdfd-f8b7-498b-b8ec-0f5ed21f0b4a" providerId="ADAL" clId="{94293865-27CB-4CCE-A49E-CBFD52BCCD90}" dt="2022-05-20T07:55:18.794" v="268" actId="12788"/>
          <ac:spMkLst>
            <pc:docMk/>
            <pc:sldMk cId="2238744592" sldId="2147375830"/>
            <ac:spMk id="5" creationId="{230AB330-6041-499E-A10C-CE13F3114CDD}"/>
          </ac:spMkLst>
        </pc:spChg>
        <pc:spChg chg="add 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7" creationId="{8DBF8C74-99AF-4267-8359-032B46F8FF8D}"/>
          </ac:spMkLst>
        </pc:spChg>
        <pc:spChg chg="add mod">
          <ac:chgData name="Angela Liebana Medina" userId="33f3cdfd-f8b7-498b-b8ec-0f5ed21f0b4a" providerId="ADAL" clId="{94293865-27CB-4CCE-A49E-CBFD52BCCD90}" dt="2022-05-20T07:57:20.974" v="302" actId="20577"/>
          <ac:spMkLst>
            <pc:docMk/>
            <pc:sldMk cId="2238744592" sldId="2147375830"/>
            <ac:spMk id="11" creationId="{8647B9F2-4832-4290-BC57-2389AD8FD811}"/>
          </ac:spMkLst>
        </pc:spChg>
        <pc:spChg chg="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13" creationId="{E6AB0E9E-A8F4-4DC6-A4FB-B65D40250A2A}"/>
          </ac:spMkLst>
        </pc:spChg>
        <pc:spChg chg="mod topLvl">
          <ac:chgData name="Angela Liebana Medina" userId="33f3cdfd-f8b7-498b-b8ec-0f5ed21f0b4a" providerId="ADAL" clId="{94293865-27CB-4CCE-A49E-CBFD52BCCD90}" dt="2022-05-20T07:53:15.980" v="135" actId="165"/>
          <ac:spMkLst>
            <pc:docMk/>
            <pc:sldMk cId="2238744592" sldId="2147375830"/>
            <ac:spMk id="17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07:53:15.980" v="135" actId="165"/>
          <ac:spMkLst>
            <pc:docMk/>
            <pc:sldMk cId="2238744592" sldId="2147375830"/>
            <ac:spMk id="18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07:53:15.980" v="135" actId="165"/>
          <ac:spMkLst>
            <pc:docMk/>
            <pc:sldMk cId="2238744592" sldId="2147375830"/>
            <ac:spMk id="19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07:53:15.980" v="135" actId="165"/>
          <ac:spMkLst>
            <pc:docMk/>
            <pc:sldMk cId="2238744592" sldId="2147375830"/>
            <ac:spMk id="20" creationId="{00000000-0000-0000-0000-000000000000}"/>
          </ac:spMkLst>
        </pc:spChg>
        <pc:spChg chg="add del mod">
          <ac:chgData name="Angela Liebana Medina" userId="33f3cdfd-f8b7-498b-b8ec-0f5ed21f0b4a" providerId="ADAL" clId="{94293865-27CB-4CCE-A49E-CBFD52BCCD90}" dt="2022-05-20T07:49:44.260" v="36" actId="478"/>
          <ac:spMkLst>
            <pc:docMk/>
            <pc:sldMk cId="2238744592" sldId="2147375830"/>
            <ac:spMk id="24" creationId="{B19A202A-4B8F-4BB3-97E7-0B008EB21D99}"/>
          </ac:spMkLst>
        </pc:spChg>
        <pc:spChg chg="add 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26" creationId="{7FF74B45-919A-4526-AA7B-839F392E7081}"/>
          </ac:spMkLst>
        </pc:spChg>
        <pc:spChg chg="add 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28" creationId="{B868009D-01EB-4164-AF77-93CE0B827358}"/>
          </ac:spMkLst>
        </pc:spChg>
        <pc:spChg chg="add mod">
          <ac:chgData name="Angela Liebana Medina" userId="33f3cdfd-f8b7-498b-b8ec-0f5ed21f0b4a" providerId="ADAL" clId="{94293865-27CB-4CCE-A49E-CBFD52BCCD90}" dt="2022-05-20T07:55:10.885" v="267" actId="12788"/>
          <ac:spMkLst>
            <pc:docMk/>
            <pc:sldMk cId="2238744592" sldId="2147375830"/>
            <ac:spMk id="30" creationId="{DDCB5B97-BE92-4B83-9D24-9053F3FA8023}"/>
          </ac:spMkLst>
        </pc:spChg>
        <pc:spChg chg="add mod">
          <ac:chgData name="Angela Liebana Medina" userId="33f3cdfd-f8b7-498b-b8ec-0f5ed21f0b4a" providerId="ADAL" clId="{94293865-27CB-4CCE-A49E-CBFD52BCCD90}" dt="2022-05-20T07:54:44.607" v="263" actId="1038"/>
          <ac:spMkLst>
            <pc:docMk/>
            <pc:sldMk cId="2238744592" sldId="2147375830"/>
            <ac:spMk id="31" creationId="{5C44E46B-9D1B-40A6-8502-80CAF062534A}"/>
          </ac:spMkLst>
        </pc:spChg>
        <pc:spChg chg="add mod">
          <ac:chgData name="Angela Liebana Medina" userId="33f3cdfd-f8b7-498b-b8ec-0f5ed21f0b4a" providerId="ADAL" clId="{94293865-27CB-4CCE-A49E-CBFD52BCCD90}" dt="2022-05-20T07:54:55.304" v="265" actId="1076"/>
          <ac:spMkLst>
            <pc:docMk/>
            <pc:sldMk cId="2238744592" sldId="2147375830"/>
            <ac:spMk id="32" creationId="{622D66E0-352C-4F30-8E05-1664B2FB072D}"/>
          </ac:spMkLst>
        </pc:spChg>
        <pc:spChg chg="add mod">
          <ac:chgData name="Angela Liebana Medina" userId="33f3cdfd-f8b7-498b-b8ec-0f5ed21f0b4a" providerId="ADAL" clId="{94293865-27CB-4CCE-A49E-CBFD52BCCD90}" dt="2022-05-20T07:54:55.304" v="265" actId="1076"/>
          <ac:spMkLst>
            <pc:docMk/>
            <pc:sldMk cId="2238744592" sldId="2147375830"/>
            <ac:spMk id="33" creationId="{CE149104-872D-4B9F-B2FE-E0F69ECB07E7}"/>
          </ac:spMkLst>
        </pc:spChg>
        <pc:spChg chg="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35" creationId="{00000000-0000-0000-0000-000000000000}"/>
          </ac:spMkLst>
        </pc:spChg>
        <pc:spChg chg="add mod">
          <ac:chgData name="Angela Liebana Medina" userId="33f3cdfd-f8b7-498b-b8ec-0f5ed21f0b4a" providerId="ADAL" clId="{94293865-27CB-4CCE-A49E-CBFD52BCCD90}" dt="2022-05-20T07:57:32.361" v="314" actId="113"/>
          <ac:spMkLst>
            <pc:docMk/>
            <pc:sldMk cId="2238744592" sldId="2147375830"/>
            <ac:spMk id="36" creationId="{18C206EE-087A-45E5-9194-25E11AF4A016}"/>
          </ac:spMkLst>
        </pc:spChg>
        <pc:spChg chg="mod">
          <ac:chgData name="Angela Liebana Medina" userId="33f3cdfd-f8b7-498b-b8ec-0f5ed21f0b4a" providerId="ADAL" clId="{94293865-27CB-4CCE-A49E-CBFD52BCCD90}" dt="2022-05-20T07:52:47.081" v="128" actId="1036"/>
          <ac:spMkLst>
            <pc:docMk/>
            <pc:sldMk cId="2238744592" sldId="2147375830"/>
            <ac:spMk id="51" creationId="{907FB979-1BFB-4FBF-B92A-815647461EA0}"/>
          </ac:spMkLst>
        </pc:spChg>
        <pc:spChg chg="mod">
          <ac:chgData name="Angela Liebana Medina" userId="33f3cdfd-f8b7-498b-b8ec-0f5ed21f0b4a" providerId="ADAL" clId="{94293865-27CB-4CCE-A49E-CBFD52BCCD90}" dt="2022-05-20T07:58:21.737" v="317" actId="207"/>
          <ac:spMkLst>
            <pc:docMk/>
            <pc:sldMk cId="2238744592" sldId="2147375830"/>
            <ac:spMk id="71" creationId="{19788C76-4CAF-43FD-9C0E-362431A12E69}"/>
          </ac:spMkLst>
        </pc:spChg>
        <pc:spChg chg="mod">
          <ac:chgData name="Angela Liebana Medina" userId="33f3cdfd-f8b7-498b-b8ec-0f5ed21f0b4a" providerId="ADAL" clId="{94293865-27CB-4CCE-A49E-CBFD52BCCD90}" dt="2022-05-20T07:58:18.775" v="316" actId="207"/>
          <ac:spMkLst>
            <pc:docMk/>
            <pc:sldMk cId="2238744592" sldId="2147375830"/>
            <ac:spMk id="79" creationId="{034041A6-5BD6-44D2-AE55-CDB9E8B479F5}"/>
          </ac:spMkLst>
        </pc:spChg>
        <pc:grpChg chg="del mod">
          <ac:chgData name="Angela Liebana Medina" userId="33f3cdfd-f8b7-498b-b8ec-0f5ed21f0b4a" providerId="ADAL" clId="{94293865-27CB-4CCE-A49E-CBFD52BCCD90}" dt="2022-05-20T07:53:15.980" v="135" actId="165"/>
          <ac:grpSpMkLst>
            <pc:docMk/>
            <pc:sldMk cId="2238744592" sldId="2147375830"/>
            <ac:grpSpMk id="4" creationId="{951BA24D-8F76-4C30-9F56-94BF4FE7B615}"/>
          </ac:grpSpMkLst>
        </pc:grpChg>
        <pc:picChg chg="add mod">
          <ac:chgData name="Angela Liebana Medina" userId="33f3cdfd-f8b7-498b-b8ec-0f5ed21f0b4a" providerId="ADAL" clId="{94293865-27CB-4CCE-A49E-CBFD52BCCD90}" dt="2022-05-20T07:52:47.081" v="128" actId="1036"/>
          <ac:picMkLst>
            <pc:docMk/>
            <pc:sldMk cId="2238744592" sldId="2147375830"/>
            <ac:picMk id="23" creationId="{FB1450C6-98C3-476B-8FFF-E20306A40EC5}"/>
          </ac:picMkLst>
        </pc:picChg>
        <pc:picChg chg="del">
          <ac:chgData name="Angela Liebana Medina" userId="33f3cdfd-f8b7-498b-b8ec-0f5ed21f0b4a" providerId="ADAL" clId="{94293865-27CB-4CCE-A49E-CBFD52BCCD90}" dt="2022-05-20T07:45:18.876" v="5" actId="478"/>
          <ac:picMkLst>
            <pc:docMk/>
            <pc:sldMk cId="2238744592" sldId="2147375830"/>
            <ac:picMk id="40" creationId="{00000000-0000-0000-0000-000000000000}"/>
          </ac:picMkLst>
        </pc:picChg>
        <pc:cxnChg chg="mod">
          <ac:chgData name="Angela Liebana Medina" userId="33f3cdfd-f8b7-498b-b8ec-0f5ed21f0b4a" providerId="ADAL" clId="{94293865-27CB-4CCE-A49E-CBFD52BCCD90}" dt="2022-05-20T07:52:47.081" v="128" actId="1036"/>
          <ac:cxnSpMkLst>
            <pc:docMk/>
            <pc:sldMk cId="2238744592" sldId="2147375830"/>
            <ac:cxnSpMk id="6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7:52:47.081" v="128" actId="1036"/>
          <ac:cxnSpMkLst>
            <pc:docMk/>
            <pc:sldMk cId="2238744592" sldId="2147375830"/>
            <ac:cxnSpMk id="21" creationId="{00000000-0000-0000-0000-000000000000}"/>
          </ac:cxnSpMkLst>
        </pc:cxnChg>
        <pc:cxnChg chg="mod topLvl">
          <ac:chgData name="Angela Liebana Medina" userId="33f3cdfd-f8b7-498b-b8ec-0f5ed21f0b4a" providerId="ADAL" clId="{94293865-27CB-4CCE-A49E-CBFD52BCCD90}" dt="2022-05-20T07:54:10.008" v="164" actId="1036"/>
          <ac:cxnSpMkLst>
            <pc:docMk/>
            <pc:sldMk cId="2238744592" sldId="2147375830"/>
            <ac:cxnSpMk id="22" creationId="{00000000-0000-0000-0000-000000000000}"/>
          </ac:cxnSpMkLst>
        </pc:cxnChg>
        <pc:cxnChg chg="mod topLvl">
          <ac:chgData name="Angela Liebana Medina" userId="33f3cdfd-f8b7-498b-b8ec-0f5ed21f0b4a" providerId="ADAL" clId="{94293865-27CB-4CCE-A49E-CBFD52BCCD90}" dt="2022-05-20T07:53:57.550" v="154" actId="1036"/>
          <ac:cxnSpMkLst>
            <pc:docMk/>
            <pc:sldMk cId="2238744592" sldId="2147375830"/>
            <ac:cxnSpMk id="27" creationId="{E1ADCD76-C12D-4FFB-9565-9F8A357B935D}"/>
          </ac:cxnSpMkLst>
        </pc:cxnChg>
      </pc:sldChg>
      <pc:sldChg chg="addSp delSp modSp add del mod">
        <pc:chgData name="Angela Liebana Medina" userId="33f3cdfd-f8b7-498b-b8ec-0f5ed21f0b4a" providerId="ADAL" clId="{94293865-27CB-4CCE-A49E-CBFD52BCCD90}" dt="2022-05-20T08:29:37.984" v="653" actId="47"/>
        <pc:sldMkLst>
          <pc:docMk/>
          <pc:sldMk cId="4205678004" sldId="2147375831"/>
        </pc:sldMkLst>
        <pc:spChg chg="mod">
          <ac:chgData name="Angela Liebana Medina" userId="33f3cdfd-f8b7-498b-b8ec-0f5ed21f0b4a" providerId="ADAL" clId="{94293865-27CB-4CCE-A49E-CBFD52BCCD90}" dt="2022-05-20T08:17:58.004" v="558" actId="164"/>
          <ac:spMkLst>
            <pc:docMk/>
            <pc:sldMk cId="4205678004" sldId="2147375831"/>
            <ac:spMk id="5" creationId="{230AB330-6041-499E-A10C-CE13F3114CDD}"/>
          </ac:spMkLst>
        </pc:spChg>
        <pc:spChg chg="mod">
          <ac:chgData name="Angela Liebana Medina" userId="33f3cdfd-f8b7-498b-b8ec-0f5ed21f0b4a" providerId="ADAL" clId="{94293865-27CB-4CCE-A49E-CBFD52BCCD90}" dt="2022-05-20T08:17:58.004" v="558" actId="164"/>
          <ac:spMkLst>
            <pc:docMk/>
            <pc:sldMk cId="4205678004" sldId="2147375831"/>
            <ac:spMk id="7" creationId="{8DBF8C74-99AF-4267-8359-032B46F8FF8D}"/>
          </ac:spMkLst>
        </pc:spChg>
        <pc:spChg chg="mod topLvl">
          <ac:chgData name="Angela Liebana Medina" userId="33f3cdfd-f8b7-498b-b8ec-0f5ed21f0b4a" providerId="ADAL" clId="{94293865-27CB-4CCE-A49E-CBFD52BCCD90}" dt="2022-05-20T08:28:37.095" v="630" actId="164"/>
          <ac:spMkLst>
            <pc:docMk/>
            <pc:sldMk cId="4205678004" sldId="2147375831"/>
            <ac:spMk id="11" creationId="{8647B9F2-4832-4290-BC57-2389AD8FD811}"/>
          </ac:spMkLst>
        </pc:spChg>
        <pc:spChg chg="mod topLvl">
          <ac:chgData name="Angela Liebana Medina" userId="33f3cdfd-f8b7-498b-b8ec-0f5ed21f0b4a" providerId="ADAL" clId="{94293865-27CB-4CCE-A49E-CBFD52BCCD90}" dt="2022-05-20T08:28:37.095" v="630" actId="164"/>
          <ac:spMkLst>
            <pc:docMk/>
            <pc:sldMk cId="4205678004" sldId="2147375831"/>
            <ac:spMk id="13" creationId="{E6AB0E9E-A8F4-4DC6-A4FB-B65D40250A2A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20" creationId="{00000000-0000-0000-0000-000000000000}"/>
          </ac:spMkLst>
        </pc:spChg>
        <pc:spChg chg="del mod">
          <ac:chgData name="Angela Liebana Medina" userId="33f3cdfd-f8b7-498b-b8ec-0f5ed21f0b4a" providerId="ADAL" clId="{94293865-27CB-4CCE-A49E-CBFD52BCCD90}" dt="2022-05-20T08:18:55.716" v="571" actId="478"/>
          <ac:spMkLst>
            <pc:docMk/>
            <pc:sldMk cId="4205678004" sldId="2147375831"/>
            <ac:spMk id="26" creationId="{7FF74B45-919A-4526-AA7B-839F392E7081}"/>
          </ac:spMkLst>
        </pc:spChg>
        <pc:spChg chg="del mod">
          <ac:chgData name="Angela Liebana Medina" userId="33f3cdfd-f8b7-498b-b8ec-0f5ed21f0b4a" providerId="ADAL" clId="{94293865-27CB-4CCE-A49E-CBFD52BCCD90}" dt="2022-05-20T08:18:57.624" v="572" actId="478"/>
          <ac:spMkLst>
            <pc:docMk/>
            <pc:sldMk cId="4205678004" sldId="2147375831"/>
            <ac:spMk id="28" creationId="{B868009D-01EB-4164-AF77-93CE0B827358}"/>
          </ac:spMkLst>
        </pc:spChg>
        <pc:spChg chg="del mod">
          <ac:chgData name="Angela Liebana Medina" userId="33f3cdfd-f8b7-498b-b8ec-0f5ed21f0b4a" providerId="ADAL" clId="{94293865-27CB-4CCE-A49E-CBFD52BCCD90}" dt="2022-05-20T08:15:29.910" v="420" actId="478"/>
          <ac:spMkLst>
            <pc:docMk/>
            <pc:sldMk cId="4205678004" sldId="2147375831"/>
            <ac:spMk id="30" creationId="{DDCB5B97-BE92-4B83-9D24-9053F3FA8023}"/>
          </ac:spMkLst>
        </pc:spChg>
        <pc:spChg chg="del mod">
          <ac:chgData name="Angela Liebana Medina" userId="33f3cdfd-f8b7-498b-b8ec-0f5ed21f0b4a" providerId="ADAL" clId="{94293865-27CB-4CCE-A49E-CBFD52BCCD90}" dt="2022-05-20T08:15:35.151" v="422" actId="478"/>
          <ac:spMkLst>
            <pc:docMk/>
            <pc:sldMk cId="4205678004" sldId="2147375831"/>
            <ac:spMk id="31" creationId="{5C44E46B-9D1B-40A6-8502-80CAF062534A}"/>
          </ac:spMkLst>
        </pc:spChg>
        <pc:spChg chg="del mod">
          <ac:chgData name="Angela Liebana Medina" userId="33f3cdfd-f8b7-498b-b8ec-0f5ed21f0b4a" providerId="ADAL" clId="{94293865-27CB-4CCE-A49E-CBFD52BCCD90}" dt="2022-05-20T08:19:14.602" v="575" actId="478"/>
          <ac:spMkLst>
            <pc:docMk/>
            <pc:sldMk cId="4205678004" sldId="2147375831"/>
            <ac:spMk id="32" creationId="{622D66E0-352C-4F30-8E05-1664B2FB072D}"/>
          </ac:spMkLst>
        </pc:spChg>
        <pc:spChg chg="del mod">
          <ac:chgData name="Angela Liebana Medina" userId="33f3cdfd-f8b7-498b-b8ec-0f5ed21f0b4a" providerId="ADAL" clId="{94293865-27CB-4CCE-A49E-CBFD52BCCD90}" dt="2022-05-20T08:19:13.402" v="574" actId="478"/>
          <ac:spMkLst>
            <pc:docMk/>
            <pc:sldMk cId="4205678004" sldId="2147375831"/>
            <ac:spMk id="33" creationId="{CE149104-872D-4B9F-B2FE-E0F69ECB07E7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35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36" creationId="{18C206EE-087A-45E5-9194-25E11AF4A016}"/>
          </ac:spMkLst>
        </pc:spChg>
        <pc:spChg chg="add mod">
          <ac:chgData name="Angela Liebana Medina" userId="33f3cdfd-f8b7-498b-b8ec-0f5ed21f0b4a" providerId="ADAL" clId="{94293865-27CB-4CCE-A49E-CBFD52BCCD90}" dt="2022-05-20T08:16:36.380" v="557" actId="164"/>
          <ac:spMkLst>
            <pc:docMk/>
            <pc:sldMk cId="4205678004" sldId="2147375831"/>
            <ac:spMk id="37" creationId="{14FBB59C-E068-4607-BC75-DFB9EE0D96F2}"/>
          </ac:spMkLst>
        </pc:spChg>
        <pc:spChg chg="add mod">
          <ac:chgData name="Angela Liebana Medina" userId="33f3cdfd-f8b7-498b-b8ec-0f5ed21f0b4a" providerId="ADAL" clId="{94293865-27CB-4CCE-A49E-CBFD52BCCD90}" dt="2022-05-20T08:16:36.380" v="557" actId="164"/>
          <ac:spMkLst>
            <pc:docMk/>
            <pc:sldMk cId="4205678004" sldId="2147375831"/>
            <ac:spMk id="38" creationId="{2FAF0A48-A8EB-47F9-B074-A0B8B8337937}"/>
          </ac:spMkLst>
        </pc:spChg>
        <pc:spChg chg="add mod">
          <ac:chgData name="Angela Liebana Medina" userId="33f3cdfd-f8b7-498b-b8ec-0f5ed21f0b4a" providerId="ADAL" clId="{94293865-27CB-4CCE-A49E-CBFD52BCCD90}" dt="2022-05-20T08:18:50.263" v="568" actId="164"/>
          <ac:spMkLst>
            <pc:docMk/>
            <pc:sldMk cId="4205678004" sldId="2147375831"/>
            <ac:spMk id="41" creationId="{B957A0A3-B54B-411A-9137-C08100F6C88D}"/>
          </ac:spMkLst>
        </pc:spChg>
        <pc:spChg chg="add mod">
          <ac:chgData name="Angela Liebana Medina" userId="33f3cdfd-f8b7-498b-b8ec-0f5ed21f0b4a" providerId="ADAL" clId="{94293865-27CB-4CCE-A49E-CBFD52BCCD90}" dt="2022-05-20T08:18:50.263" v="568" actId="164"/>
          <ac:spMkLst>
            <pc:docMk/>
            <pc:sldMk cId="4205678004" sldId="2147375831"/>
            <ac:spMk id="42" creationId="{DFF4875E-1B87-458C-95E2-19C8D4917626}"/>
          </ac:spMkLst>
        </pc:spChg>
        <pc:spChg chg="add del mod">
          <ac:chgData name="Angela Liebana Medina" userId="33f3cdfd-f8b7-498b-b8ec-0f5ed21f0b4a" providerId="ADAL" clId="{94293865-27CB-4CCE-A49E-CBFD52BCCD90}" dt="2022-05-20T08:18:31.458" v="563"/>
          <ac:spMkLst>
            <pc:docMk/>
            <pc:sldMk cId="4205678004" sldId="2147375831"/>
            <ac:spMk id="44" creationId="{03D78C8D-B481-495C-976E-9BF422022F16}"/>
          </ac:spMkLst>
        </pc:spChg>
        <pc:spChg chg="add del mod">
          <ac:chgData name="Angela Liebana Medina" userId="33f3cdfd-f8b7-498b-b8ec-0f5ed21f0b4a" providerId="ADAL" clId="{94293865-27CB-4CCE-A49E-CBFD52BCCD90}" dt="2022-05-20T08:18:31.458" v="563"/>
          <ac:spMkLst>
            <pc:docMk/>
            <pc:sldMk cId="4205678004" sldId="2147375831"/>
            <ac:spMk id="45" creationId="{3FC97D91-1BCE-4A1A-9B6C-C40A78C582A9}"/>
          </ac:spMkLst>
        </pc:spChg>
        <pc:spChg chg="mod">
          <ac:chgData name="Angela Liebana Medina" userId="33f3cdfd-f8b7-498b-b8ec-0f5ed21f0b4a" providerId="ADAL" clId="{94293865-27CB-4CCE-A49E-CBFD52BCCD90}" dt="2022-05-20T08:18:53.211" v="569"/>
          <ac:spMkLst>
            <pc:docMk/>
            <pc:sldMk cId="4205678004" sldId="2147375831"/>
            <ac:spMk id="49" creationId="{670E284A-5178-4DC7-A342-5F087458488C}"/>
          </ac:spMkLst>
        </pc:spChg>
        <pc:spChg chg="mod">
          <ac:chgData name="Angela Liebana Medina" userId="33f3cdfd-f8b7-498b-b8ec-0f5ed21f0b4a" providerId="ADAL" clId="{94293865-27CB-4CCE-A49E-CBFD52BCCD90}" dt="2022-05-20T08:18:53.211" v="569"/>
          <ac:spMkLst>
            <pc:docMk/>
            <pc:sldMk cId="4205678004" sldId="2147375831"/>
            <ac:spMk id="50" creationId="{97DD9507-B1D8-42EC-B7A5-C9D8BCEB774E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51" creationId="{907FB979-1BFB-4FBF-B92A-815647461EA0}"/>
          </ac:spMkLst>
        </pc:spChg>
        <pc:spChg chg="mod">
          <ac:chgData name="Angela Liebana Medina" userId="33f3cdfd-f8b7-498b-b8ec-0f5ed21f0b4a" providerId="ADAL" clId="{94293865-27CB-4CCE-A49E-CBFD52BCCD90}" dt="2022-05-20T08:19:16.171" v="576"/>
          <ac:spMkLst>
            <pc:docMk/>
            <pc:sldMk cId="4205678004" sldId="2147375831"/>
            <ac:spMk id="54" creationId="{3A66D447-7E86-4E4F-8A22-3D9C9CE65B43}"/>
          </ac:spMkLst>
        </pc:spChg>
        <pc:spChg chg="mod">
          <ac:chgData name="Angela Liebana Medina" userId="33f3cdfd-f8b7-498b-b8ec-0f5ed21f0b4a" providerId="ADAL" clId="{94293865-27CB-4CCE-A49E-CBFD52BCCD90}" dt="2022-05-20T08:19:16.171" v="576"/>
          <ac:spMkLst>
            <pc:docMk/>
            <pc:sldMk cId="4205678004" sldId="2147375831"/>
            <ac:spMk id="55" creationId="{BEB047CA-A3BB-4947-9533-DBA121183A3B}"/>
          </ac:spMkLst>
        </pc:spChg>
        <pc:spChg chg="mod">
          <ac:chgData name="Angela Liebana Medina" userId="33f3cdfd-f8b7-498b-b8ec-0f5ed21f0b4a" providerId="ADAL" clId="{94293865-27CB-4CCE-A49E-CBFD52BCCD90}" dt="2022-05-20T08:21:33.032" v="584"/>
          <ac:spMkLst>
            <pc:docMk/>
            <pc:sldMk cId="4205678004" sldId="2147375831"/>
            <ac:spMk id="58" creationId="{E5656D5B-FA62-435B-A5CE-7AD5DE5BD005}"/>
          </ac:spMkLst>
        </pc:spChg>
        <pc:spChg chg="mod">
          <ac:chgData name="Angela Liebana Medina" userId="33f3cdfd-f8b7-498b-b8ec-0f5ed21f0b4a" providerId="ADAL" clId="{94293865-27CB-4CCE-A49E-CBFD52BCCD90}" dt="2022-05-20T08:21:33.032" v="584"/>
          <ac:spMkLst>
            <pc:docMk/>
            <pc:sldMk cId="4205678004" sldId="2147375831"/>
            <ac:spMk id="59" creationId="{8799CEAB-7094-4A7E-BC44-88C402A9D81F}"/>
          </ac:spMkLst>
        </pc:spChg>
        <pc:spChg chg="mod">
          <ac:chgData name="Angela Liebana Medina" userId="33f3cdfd-f8b7-498b-b8ec-0f5ed21f0b4a" providerId="ADAL" clId="{94293865-27CB-4CCE-A49E-CBFD52BCCD90}" dt="2022-05-20T08:21:43.052" v="587"/>
          <ac:spMkLst>
            <pc:docMk/>
            <pc:sldMk cId="4205678004" sldId="2147375831"/>
            <ac:spMk id="62" creationId="{AFF9CA53-D46E-43AF-95B2-42F836E80522}"/>
          </ac:spMkLst>
        </pc:spChg>
        <pc:spChg chg="mod">
          <ac:chgData name="Angela Liebana Medina" userId="33f3cdfd-f8b7-498b-b8ec-0f5ed21f0b4a" providerId="ADAL" clId="{94293865-27CB-4CCE-A49E-CBFD52BCCD90}" dt="2022-05-20T08:21:43.052" v="587"/>
          <ac:spMkLst>
            <pc:docMk/>
            <pc:sldMk cId="4205678004" sldId="2147375831"/>
            <ac:spMk id="63" creationId="{0BC868F6-9A34-4986-86EA-EB2C9FCE0843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71" creationId="{19788C76-4CAF-43FD-9C0E-362431A12E69}"/>
          </ac:spMkLst>
        </pc:spChg>
        <pc:spChg chg="mod">
          <ac:chgData name="Angela Liebana Medina" userId="33f3cdfd-f8b7-498b-b8ec-0f5ed21f0b4a" providerId="ADAL" clId="{94293865-27CB-4CCE-A49E-CBFD52BCCD90}" dt="2022-05-20T08:06:04.778" v="374" actId="1038"/>
          <ac:spMkLst>
            <pc:docMk/>
            <pc:sldMk cId="4205678004" sldId="2147375831"/>
            <ac:spMk id="79" creationId="{034041A6-5BD6-44D2-AE55-CDB9E8B479F5}"/>
          </ac:spMkLst>
        </pc:spChg>
        <pc:grpChg chg="add del mod">
          <ac:chgData name="Angela Liebana Medina" userId="33f3cdfd-f8b7-498b-b8ec-0f5ed21f0b4a" providerId="ADAL" clId="{94293865-27CB-4CCE-A49E-CBFD52BCCD90}" dt="2022-05-20T08:21:29.357" v="583" actId="478"/>
          <ac:grpSpMkLst>
            <pc:docMk/>
            <pc:sldMk cId="4205678004" sldId="2147375831"/>
            <ac:grpSpMk id="9" creationId="{40B3721C-BCE3-4289-A8BF-B5E5EFE548E5}"/>
          </ac:grpSpMkLst>
        </pc:grpChg>
        <pc:grpChg chg="add mod">
          <ac:chgData name="Angela Liebana Medina" userId="33f3cdfd-f8b7-498b-b8ec-0f5ed21f0b4a" providerId="ADAL" clId="{94293865-27CB-4CCE-A49E-CBFD52BCCD90}" dt="2022-05-20T08:18:04.264" v="559" actId="1076"/>
          <ac:grpSpMkLst>
            <pc:docMk/>
            <pc:sldMk cId="4205678004" sldId="2147375831"/>
            <ac:grpSpMk id="10" creationId="{9AD04BBF-3B86-4E55-9828-84506258D98C}"/>
          </ac:grpSpMkLst>
        </pc:grpChg>
        <pc:grpChg chg="add mod">
          <ac:chgData name="Angela Liebana Medina" userId="33f3cdfd-f8b7-498b-b8ec-0f5ed21f0b4a" providerId="ADAL" clId="{94293865-27CB-4CCE-A49E-CBFD52BCCD90}" dt="2022-05-20T08:18:50.263" v="568" actId="164"/>
          <ac:grpSpMkLst>
            <pc:docMk/>
            <pc:sldMk cId="4205678004" sldId="2147375831"/>
            <ac:grpSpMk id="12" creationId="{7293A1A1-4365-43C4-9C79-4ED4E4F97DA6}"/>
          </ac:grpSpMkLst>
        </pc:grpChg>
        <pc:grpChg chg="add del mod">
          <ac:chgData name="Angela Liebana Medina" userId="33f3cdfd-f8b7-498b-b8ec-0f5ed21f0b4a" providerId="ADAL" clId="{94293865-27CB-4CCE-A49E-CBFD52BCCD90}" dt="2022-05-20T08:21:42.246" v="586" actId="478"/>
          <ac:grpSpMkLst>
            <pc:docMk/>
            <pc:sldMk cId="4205678004" sldId="2147375831"/>
            <ac:grpSpMk id="47" creationId="{7F45B596-B8DF-4DC0-834B-DB2120A430F1}"/>
          </ac:grpSpMkLst>
        </pc:grpChg>
        <pc:grpChg chg="add del mod">
          <ac:chgData name="Angela Liebana Medina" userId="33f3cdfd-f8b7-498b-b8ec-0f5ed21f0b4a" providerId="ADAL" clId="{94293865-27CB-4CCE-A49E-CBFD52BCCD90}" dt="2022-05-20T08:26:59.741" v="613" actId="478"/>
          <ac:grpSpMkLst>
            <pc:docMk/>
            <pc:sldMk cId="4205678004" sldId="2147375831"/>
            <ac:grpSpMk id="53" creationId="{416EB4DE-8BD7-4D7F-AD07-7D1B0BE296F6}"/>
          </ac:grpSpMkLst>
        </pc:grpChg>
        <pc:grpChg chg="add mod">
          <ac:chgData name="Angela Liebana Medina" userId="33f3cdfd-f8b7-498b-b8ec-0f5ed21f0b4a" providerId="ADAL" clId="{94293865-27CB-4CCE-A49E-CBFD52BCCD90}" dt="2022-05-20T08:21:39.911" v="585" actId="1076"/>
          <ac:grpSpMkLst>
            <pc:docMk/>
            <pc:sldMk cId="4205678004" sldId="2147375831"/>
            <ac:grpSpMk id="57" creationId="{87A73128-049D-463E-9905-C2DA8FBCFF56}"/>
          </ac:grpSpMkLst>
        </pc:grpChg>
        <pc:grpChg chg="add mod">
          <ac:chgData name="Angela Liebana Medina" userId="33f3cdfd-f8b7-498b-b8ec-0f5ed21f0b4a" providerId="ADAL" clId="{94293865-27CB-4CCE-A49E-CBFD52BCCD90}" dt="2022-05-20T08:26:41.673" v="611" actId="164"/>
          <ac:grpSpMkLst>
            <pc:docMk/>
            <pc:sldMk cId="4205678004" sldId="2147375831"/>
            <ac:grpSpMk id="61" creationId="{95B757F3-BA91-42EB-8B3F-A20F83F97407}"/>
          </ac:grpSpMkLst>
        </pc:grpChg>
        <pc:grpChg chg="add mod">
          <ac:chgData name="Angela Liebana Medina" userId="33f3cdfd-f8b7-498b-b8ec-0f5ed21f0b4a" providerId="ADAL" clId="{94293865-27CB-4CCE-A49E-CBFD52BCCD90}" dt="2022-05-20T08:26:41.673" v="611" actId="164"/>
          <ac:grpSpMkLst>
            <pc:docMk/>
            <pc:sldMk cId="4205678004" sldId="2147375831"/>
            <ac:grpSpMk id="67" creationId="{47FF87D6-45C6-40DD-8DA2-32648C36BE92}"/>
          </ac:grpSpMkLst>
        </pc:grpChg>
        <pc:grpChg chg="add del mod">
          <ac:chgData name="Angela Liebana Medina" userId="33f3cdfd-f8b7-498b-b8ec-0f5ed21f0b4a" providerId="ADAL" clId="{94293865-27CB-4CCE-A49E-CBFD52BCCD90}" dt="2022-05-20T08:28:37.095" v="630" actId="164"/>
          <ac:grpSpMkLst>
            <pc:docMk/>
            <pc:sldMk cId="4205678004" sldId="2147375831"/>
            <ac:grpSpMk id="68" creationId="{CFDB852B-FFB2-4BE6-9C68-951A931CF275}"/>
          </ac:grpSpMkLst>
        </pc:grpChg>
        <pc:picChg chg="add del mod">
          <ac:chgData name="Angela Liebana Medina" userId="33f3cdfd-f8b7-498b-b8ec-0f5ed21f0b4a" providerId="ADAL" clId="{94293865-27CB-4CCE-A49E-CBFD52BCCD90}" dt="2022-05-20T08:24:18.743" v="599" actId="478"/>
          <ac:picMkLst>
            <pc:docMk/>
            <pc:sldMk cId="4205678004" sldId="2147375831"/>
            <ac:picMk id="15" creationId="{9C94DA7C-9EB8-462B-AC80-530C9BA83D40}"/>
          </ac:picMkLst>
        </pc:picChg>
        <pc:picChg chg="mod">
          <ac:chgData name="Angela Liebana Medina" userId="33f3cdfd-f8b7-498b-b8ec-0f5ed21f0b4a" providerId="ADAL" clId="{94293865-27CB-4CCE-A49E-CBFD52BCCD90}" dt="2022-05-20T08:06:51.104" v="378" actId="1076"/>
          <ac:picMkLst>
            <pc:docMk/>
            <pc:sldMk cId="4205678004" sldId="2147375831"/>
            <ac:picMk id="23" creationId="{FB1450C6-98C3-476B-8FFF-E20306A40EC5}"/>
          </ac:picMkLst>
        </pc:picChg>
        <pc:picChg chg="add mod">
          <ac:chgData name="Angela Liebana Medina" userId="33f3cdfd-f8b7-498b-b8ec-0f5ed21f0b4a" providerId="ADAL" clId="{94293865-27CB-4CCE-A49E-CBFD52BCCD90}" dt="2022-05-20T08:28:07.656" v="623" actId="1076"/>
          <ac:picMkLst>
            <pc:docMk/>
            <pc:sldMk cId="4205678004" sldId="2147375831"/>
            <ac:picMk id="24" creationId="{0CB6AB91-CC77-4F94-B7D3-FE8EDB912641}"/>
          </ac:picMkLst>
        </pc:picChg>
        <pc:picChg chg="add mod">
          <ac:chgData name="Angela Liebana Medina" userId="33f3cdfd-f8b7-498b-b8ec-0f5ed21f0b4a" providerId="ADAL" clId="{94293865-27CB-4CCE-A49E-CBFD52BCCD90}" dt="2022-05-20T08:26:41.673" v="611" actId="164"/>
          <ac:picMkLst>
            <pc:docMk/>
            <pc:sldMk cId="4205678004" sldId="2147375831"/>
            <ac:picMk id="29" creationId="{6E3029CA-ABAD-48C1-AA38-BA0C70DA8228}"/>
          </ac:picMkLst>
        </pc:picChg>
        <pc:picChg chg="add mod">
          <ac:chgData name="Angela Liebana Medina" userId="33f3cdfd-f8b7-498b-b8ec-0f5ed21f0b4a" providerId="ADAL" clId="{94293865-27CB-4CCE-A49E-CBFD52BCCD90}" dt="2022-05-20T08:17:58.004" v="558" actId="164"/>
          <ac:picMkLst>
            <pc:docMk/>
            <pc:sldMk cId="4205678004" sldId="2147375831"/>
            <ac:picMk id="34" creationId="{7BCD6833-7173-4824-8733-BB318685C011}"/>
          </ac:picMkLst>
        </pc:picChg>
        <pc:picChg chg="add mod">
          <ac:chgData name="Angela Liebana Medina" userId="33f3cdfd-f8b7-498b-b8ec-0f5ed21f0b4a" providerId="ADAL" clId="{94293865-27CB-4CCE-A49E-CBFD52BCCD90}" dt="2022-05-20T08:16:36.380" v="557" actId="164"/>
          <ac:picMkLst>
            <pc:docMk/>
            <pc:sldMk cId="4205678004" sldId="2147375831"/>
            <ac:picMk id="40" creationId="{1B8D32BE-077D-4B18-B3B8-E6C6473031CB}"/>
          </ac:picMkLst>
        </pc:picChg>
        <pc:picChg chg="add mod">
          <ac:chgData name="Angela Liebana Medina" userId="33f3cdfd-f8b7-498b-b8ec-0f5ed21f0b4a" providerId="ADAL" clId="{94293865-27CB-4CCE-A49E-CBFD52BCCD90}" dt="2022-05-20T08:21:26.200" v="582" actId="14100"/>
          <ac:picMkLst>
            <pc:docMk/>
            <pc:sldMk cId="4205678004" sldId="2147375831"/>
            <ac:picMk id="43" creationId="{1400B4C5-B793-4A8E-B836-6ABE481914B0}"/>
          </ac:picMkLst>
        </pc:picChg>
        <pc:picChg chg="add del mod">
          <ac:chgData name="Angela Liebana Medina" userId="33f3cdfd-f8b7-498b-b8ec-0f5ed21f0b4a" providerId="ADAL" clId="{94293865-27CB-4CCE-A49E-CBFD52BCCD90}" dt="2022-05-20T08:18:31.458" v="563"/>
          <ac:picMkLst>
            <pc:docMk/>
            <pc:sldMk cId="4205678004" sldId="2147375831"/>
            <ac:picMk id="46" creationId="{F73F91AF-41AD-4A86-BA23-85D316A8987B}"/>
          </ac:picMkLst>
        </pc:picChg>
        <pc:picChg chg="mod">
          <ac:chgData name="Angela Liebana Medina" userId="33f3cdfd-f8b7-498b-b8ec-0f5ed21f0b4a" providerId="ADAL" clId="{94293865-27CB-4CCE-A49E-CBFD52BCCD90}" dt="2022-05-20T08:18:53.211" v="569"/>
          <ac:picMkLst>
            <pc:docMk/>
            <pc:sldMk cId="4205678004" sldId="2147375831"/>
            <ac:picMk id="52" creationId="{6264DC3F-5F56-49D6-8244-F0A80821C82F}"/>
          </ac:picMkLst>
        </pc:picChg>
        <pc:picChg chg="del mod">
          <ac:chgData name="Angela Liebana Medina" userId="33f3cdfd-f8b7-498b-b8ec-0f5ed21f0b4a" providerId="ADAL" clId="{94293865-27CB-4CCE-A49E-CBFD52BCCD90}" dt="2022-05-20T08:20:14.153" v="579" actId="478"/>
          <ac:picMkLst>
            <pc:docMk/>
            <pc:sldMk cId="4205678004" sldId="2147375831"/>
            <ac:picMk id="56" creationId="{1A74EB58-20F0-49A4-8A61-22663C519BE4}"/>
          </ac:picMkLst>
        </pc:picChg>
        <pc:picChg chg="mod">
          <ac:chgData name="Angela Liebana Medina" userId="33f3cdfd-f8b7-498b-b8ec-0f5ed21f0b4a" providerId="ADAL" clId="{94293865-27CB-4CCE-A49E-CBFD52BCCD90}" dt="2022-05-20T08:21:33.032" v="584"/>
          <ac:picMkLst>
            <pc:docMk/>
            <pc:sldMk cId="4205678004" sldId="2147375831"/>
            <ac:picMk id="60" creationId="{50D91C4B-C399-4263-9E97-BB0BBCEACD2F}"/>
          </ac:picMkLst>
        </pc:picChg>
        <pc:picChg chg="del mod">
          <ac:chgData name="Angela Liebana Medina" userId="33f3cdfd-f8b7-498b-b8ec-0f5ed21f0b4a" providerId="ADAL" clId="{94293865-27CB-4CCE-A49E-CBFD52BCCD90}" dt="2022-05-20T08:23:44.682" v="591" actId="478"/>
          <ac:picMkLst>
            <pc:docMk/>
            <pc:sldMk cId="4205678004" sldId="2147375831"/>
            <ac:picMk id="64" creationId="{8390E6D2-4B7C-42AF-8E48-0CE014078DC2}"/>
          </ac:picMkLst>
        </pc:picChg>
        <pc:picChg chg="add del mod">
          <ac:chgData name="Angela Liebana Medina" userId="33f3cdfd-f8b7-498b-b8ec-0f5ed21f0b4a" providerId="ADAL" clId="{94293865-27CB-4CCE-A49E-CBFD52BCCD90}" dt="2022-05-20T08:28:10.382" v="624" actId="478"/>
          <ac:picMkLst>
            <pc:docMk/>
            <pc:sldMk cId="4205678004" sldId="2147375831"/>
            <ac:picMk id="66" creationId="{8DCF909C-4272-413A-97F6-B4548EB0135F}"/>
          </ac:picMkLst>
        </pc:picChg>
        <pc:cxnChg chg="mod">
          <ac:chgData name="Angela Liebana Medina" userId="33f3cdfd-f8b7-498b-b8ec-0f5ed21f0b4a" providerId="ADAL" clId="{94293865-27CB-4CCE-A49E-CBFD52BCCD90}" dt="2022-05-20T08:06:04.778" v="374" actId="1038"/>
          <ac:cxnSpMkLst>
            <pc:docMk/>
            <pc:sldMk cId="4205678004" sldId="2147375831"/>
            <ac:cxnSpMk id="6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8:06:40.547" v="377" actId="14100"/>
          <ac:cxnSpMkLst>
            <pc:docMk/>
            <pc:sldMk cId="4205678004" sldId="2147375831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8:06:04.778" v="374" actId="1038"/>
          <ac:cxnSpMkLst>
            <pc:docMk/>
            <pc:sldMk cId="4205678004" sldId="2147375831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8:06:04.778" v="374" actId="1038"/>
          <ac:cxnSpMkLst>
            <pc:docMk/>
            <pc:sldMk cId="4205678004" sldId="2147375831"/>
            <ac:cxnSpMk id="27" creationId="{E1ADCD76-C12D-4FFB-9565-9F8A357B935D}"/>
          </ac:cxnSpMkLst>
        </pc:cxnChg>
      </pc:sldChg>
      <pc:sldChg chg="addSp delSp modSp add del mod">
        <pc:chgData name="Angela Liebana Medina" userId="33f3cdfd-f8b7-498b-b8ec-0f5ed21f0b4a" providerId="ADAL" clId="{94293865-27CB-4CCE-A49E-CBFD52BCCD90}" dt="2022-05-20T10:27:07.240" v="2273" actId="47"/>
        <pc:sldMkLst>
          <pc:docMk/>
          <pc:sldMk cId="2270631243" sldId="2147375833"/>
        </pc:sldMkLst>
        <pc:spChg chg="mod">
          <ac:chgData name="Angela Liebana Medina" userId="33f3cdfd-f8b7-498b-b8ec-0f5ed21f0b4a" providerId="ADAL" clId="{94293865-27CB-4CCE-A49E-CBFD52BCCD90}" dt="2022-05-20T08:29:06.566" v="634" actId="164"/>
          <ac:spMkLst>
            <pc:docMk/>
            <pc:sldMk cId="2270631243" sldId="2147375833"/>
            <ac:spMk id="11" creationId="{8647B9F2-4832-4290-BC57-2389AD8FD811}"/>
          </ac:spMkLst>
        </pc:spChg>
        <pc:spChg chg="mod">
          <ac:chgData name="Angela Liebana Medina" userId="33f3cdfd-f8b7-498b-b8ec-0f5ed21f0b4a" providerId="ADAL" clId="{94293865-27CB-4CCE-A49E-CBFD52BCCD90}" dt="2022-05-20T08:29:06.566" v="634" actId="164"/>
          <ac:spMkLst>
            <pc:docMk/>
            <pc:sldMk cId="2270631243" sldId="2147375833"/>
            <ac:spMk id="13" creationId="{E6AB0E9E-A8F4-4DC6-A4FB-B65D40250A2A}"/>
          </ac:spMkLst>
        </pc:spChg>
        <pc:spChg chg="del">
          <ac:chgData name="Angela Liebana Medina" userId="33f3cdfd-f8b7-498b-b8ec-0f5ed21f0b4a" providerId="ADAL" clId="{94293865-27CB-4CCE-A49E-CBFD52BCCD90}" dt="2022-05-20T08:29:12.274" v="635" actId="478"/>
          <ac:spMkLst>
            <pc:docMk/>
            <pc:sldMk cId="2270631243" sldId="2147375833"/>
            <ac:spMk id="36" creationId="{18C206EE-087A-45E5-9194-25E11AF4A016}"/>
          </ac:spMkLst>
        </pc:spChg>
        <pc:spChg chg="mod">
          <ac:chgData name="Angela Liebana Medina" userId="33f3cdfd-f8b7-498b-b8ec-0f5ed21f0b4a" providerId="ADAL" clId="{94293865-27CB-4CCE-A49E-CBFD52BCCD90}" dt="2022-05-20T08:29:12.978" v="636"/>
          <ac:spMkLst>
            <pc:docMk/>
            <pc:sldMk cId="2270631243" sldId="2147375833"/>
            <ac:spMk id="45" creationId="{5F363EE1-1A03-4BE3-8687-6500168B474A}"/>
          </ac:spMkLst>
        </pc:spChg>
        <pc:spChg chg="mod">
          <ac:chgData name="Angela Liebana Medina" userId="33f3cdfd-f8b7-498b-b8ec-0f5ed21f0b4a" providerId="ADAL" clId="{94293865-27CB-4CCE-A49E-CBFD52BCCD90}" dt="2022-05-20T08:29:26.882" v="651" actId="20577"/>
          <ac:spMkLst>
            <pc:docMk/>
            <pc:sldMk cId="2270631243" sldId="2147375833"/>
            <ac:spMk id="46" creationId="{1BFCF60B-B91A-4AFB-8FB5-E4E20532209D}"/>
          </ac:spMkLst>
        </pc:spChg>
        <pc:spChg chg="del">
          <ac:chgData name="Angela Liebana Medina" userId="33f3cdfd-f8b7-498b-b8ec-0f5ed21f0b4a" providerId="ADAL" clId="{94293865-27CB-4CCE-A49E-CBFD52BCCD90}" dt="2022-05-20T08:29:12.274" v="635" actId="478"/>
          <ac:spMkLst>
            <pc:docMk/>
            <pc:sldMk cId="2270631243" sldId="2147375833"/>
            <ac:spMk id="51" creationId="{907FB979-1BFB-4FBF-B92A-815647461EA0}"/>
          </ac:spMkLst>
        </pc:spChg>
        <pc:grpChg chg="add mod">
          <ac:chgData name="Angela Liebana Medina" userId="33f3cdfd-f8b7-498b-b8ec-0f5ed21f0b4a" providerId="ADAL" clId="{94293865-27CB-4CCE-A49E-CBFD52BCCD90}" dt="2022-05-20T08:29:06.566" v="634" actId="164"/>
          <ac:grpSpMkLst>
            <pc:docMk/>
            <pc:sldMk cId="2270631243" sldId="2147375833"/>
            <ac:grpSpMk id="2" creationId="{A5B2D0DF-660A-4F48-9038-8AB5D7C7A1F7}"/>
          </ac:grpSpMkLst>
        </pc:grpChg>
        <pc:grpChg chg="add mod">
          <ac:chgData name="Angela Liebana Medina" userId="33f3cdfd-f8b7-498b-b8ec-0f5ed21f0b4a" providerId="ADAL" clId="{94293865-27CB-4CCE-A49E-CBFD52BCCD90}" dt="2022-05-20T08:29:22.448" v="638" actId="1076"/>
          <ac:grpSpMkLst>
            <pc:docMk/>
            <pc:sldMk cId="2270631243" sldId="2147375833"/>
            <ac:grpSpMk id="44" creationId="{49804165-2659-456B-89F9-E0007A686577}"/>
          </ac:grpSpMkLst>
        </pc:grpChg>
      </pc:sldChg>
      <pc:sldChg chg="modSp add del mod">
        <pc:chgData name="Angela Liebana Medina" userId="33f3cdfd-f8b7-498b-b8ec-0f5ed21f0b4a" providerId="ADAL" clId="{94293865-27CB-4CCE-A49E-CBFD52BCCD90}" dt="2022-05-20T10:26:58.794" v="2271" actId="47"/>
        <pc:sldMkLst>
          <pc:docMk/>
          <pc:sldMk cId="688334095" sldId="2147375834"/>
        </pc:sldMkLst>
        <pc:spChg chg="mod">
          <ac:chgData name="Angela Liebana Medina" userId="33f3cdfd-f8b7-498b-b8ec-0f5ed21f0b4a" providerId="ADAL" clId="{94293865-27CB-4CCE-A49E-CBFD52BCCD90}" dt="2022-05-20T08:29:57.591" v="656" actId="1076"/>
          <ac:spMkLst>
            <pc:docMk/>
            <pc:sldMk cId="688334095" sldId="2147375834"/>
            <ac:spMk id="45" creationId="{5F363EE1-1A03-4BE3-8687-6500168B474A}"/>
          </ac:spMkLst>
        </pc:spChg>
        <pc:spChg chg="mod">
          <ac:chgData name="Angela Liebana Medina" userId="33f3cdfd-f8b7-498b-b8ec-0f5ed21f0b4a" providerId="ADAL" clId="{94293865-27CB-4CCE-A49E-CBFD52BCCD90}" dt="2022-05-20T08:33:19.729" v="658" actId="1076"/>
          <ac:spMkLst>
            <pc:docMk/>
            <pc:sldMk cId="688334095" sldId="2147375834"/>
            <ac:spMk id="79" creationId="{034041A6-5BD6-44D2-AE55-CDB9E8B479F5}"/>
          </ac:spMkLst>
        </pc:spChg>
        <pc:grpChg chg="mod">
          <ac:chgData name="Angela Liebana Medina" userId="33f3cdfd-f8b7-498b-b8ec-0f5ed21f0b4a" providerId="ADAL" clId="{94293865-27CB-4CCE-A49E-CBFD52BCCD90}" dt="2022-05-20T08:29:47.415" v="654" actId="1076"/>
          <ac:grpSpMkLst>
            <pc:docMk/>
            <pc:sldMk cId="688334095" sldId="2147375834"/>
            <ac:grpSpMk id="2" creationId="{A5B2D0DF-660A-4F48-9038-8AB5D7C7A1F7}"/>
          </ac:grpSpMkLst>
        </pc:grpChg>
        <pc:grpChg chg="mod">
          <ac:chgData name="Angela Liebana Medina" userId="33f3cdfd-f8b7-498b-b8ec-0f5ed21f0b4a" providerId="ADAL" clId="{94293865-27CB-4CCE-A49E-CBFD52BCCD90}" dt="2022-05-20T08:30:04.158" v="657" actId="1076"/>
          <ac:grpSpMkLst>
            <pc:docMk/>
            <pc:sldMk cId="688334095" sldId="2147375834"/>
            <ac:grpSpMk id="44" creationId="{49804165-2659-456B-89F9-E0007A686577}"/>
          </ac:grpSpMkLst>
        </pc:grpChg>
      </pc:sldChg>
      <pc:sldChg chg="addSp delSp modSp add del mod">
        <pc:chgData name="Angela Liebana Medina" userId="33f3cdfd-f8b7-498b-b8ec-0f5ed21f0b4a" providerId="ADAL" clId="{94293865-27CB-4CCE-A49E-CBFD52BCCD90}" dt="2022-05-20T10:27:48.263" v="2274" actId="47"/>
        <pc:sldMkLst>
          <pc:docMk/>
          <pc:sldMk cId="587187682" sldId="2147375835"/>
        </pc:sldMkLst>
        <pc:spChg chg="add mod ord">
          <ac:chgData name="Angela Liebana Medina" userId="33f3cdfd-f8b7-498b-b8ec-0f5ed21f0b4a" providerId="ADAL" clId="{94293865-27CB-4CCE-A49E-CBFD52BCCD90}" dt="2022-05-20T08:38:50.985" v="939" actId="14100"/>
          <ac:spMkLst>
            <pc:docMk/>
            <pc:sldMk cId="587187682" sldId="2147375835"/>
            <ac:spMk id="4" creationId="{444E28E4-126B-4513-8568-8C2A86FD0469}"/>
          </ac:spMkLst>
        </pc:spChg>
        <pc:spChg chg="del mod topLvl">
          <ac:chgData name="Angela Liebana Medina" userId="33f3cdfd-f8b7-498b-b8ec-0f5ed21f0b4a" providerId="ADAL" clId="{94293865-27CB-4CCE-A49E-CBFD52BCCD90}" dt="2022-05-20T08:42:02.206" v="962" actId="478"/>
          <ac:spMkLst>
            <pc:docMk/>
            <pc:sldMk cId="587187682" sldId="2147375835"/>
            <ac:spMk id="5" creationId="{230AB330-6041-499E-A10C-CE13F3114CDD}"/>
          </ac:spMkLst>
        </pc:spChg>
        <pc:spChg chg="add del mod topLvl">
          <ac:chgData name="Angela Liebana Medina" userId="33f3cdfd-f8b7-498b-b8ec-0f5ed21f0b4a" providerId="ADAL" clId="{94293865-27CB-4CCE-A49E-CBFD52BCCD90}" dt="2022-05-20T08:42:00.151" v="961" actId="165"/>
          <ac:spMkLst>
            <pc:docMk/>
            <pc:sldMk cId="587187682" sldId="2147375835"/>
            <ac:spMk id="7" creationId="{8DBF8C74-99AF-4267-8359-032B46F8FF8D}"/>
          </ac:spMkLst>
        </pc:spChg>
        <pc:spChg chg="mod ord">
          <ac:chgData name="Angela Liebana Medina" userId="33f3cdfd-f8b7-498b-b8ec-0f5ed21f0b4a" providerId="ADAL" clId="{94293865-27CB-4CCE-A49E-CBFD52BCCD90}" dt="2022-05-20T08:38:09.349" v="889"/>
          <ac:spMkLst>
            <pc:docMk/>
            <pc:sldMk cId="587187682" sldId="2147375835"/>
            <ac:spMk id="8" creationId="{EF111281-EBC1-45F5-A61A-127302E518D7}"/>
          </ac:spMkLst>
        </pc:spChg>
        <pc:spChg chg="add del mod modVis">
          <ac:chgData name="Angela Liebana Medina" userId="33f3cdfd-f8b7-498b-b8ec-0f5ed21f0b4a" providerId="ADAL" clId="{94293865-27CB-4CCE-A49E-CBFD52BCCD90}" dt="2022-05-20T08:38:09.363" v="932"/>
          <ac:spMkLst>
            <pc:docMk/>
            <pc:sldMk cId="587187682" sldId="2147375835"/>
            <ac:spMk id="9" creationId="{A619888F-8B78-4D24-9180-0F98AACD2AEF}"/>
          </ac:spMkLst>
        </pc:spChg>
        <pc:spChg chg="mod topLvl">
          <ac:chgData name="Angela Liebana Medina" userId="33f3cdfd-f8b7-498b-b8ec-0f5ed21f0b4a" providerId="ADAL" clId="{94293865-27CB-4CCE-A49E-CBFD52BCCD90}" dt="2022-05-20T08:39:11.270" v="940" actId="165"/>
          <ac:spMkLst>
            <pc:docMk/>
            <pc:sldMk cId="587187682" sldId="2147375835"/>
            <ac:spMk id="11" creationId="{8647B9F2-4832-4290-BC57-2389AD8FD811}"/>
          </ac:spMkLst>
        </pc:spChg>
        <pc:spChg chg="mod topLvl">
          <ac:chgData name="Angela Liebana Medina" userId="33f3cdfd-f8b7-498b-b8ec-0f5ed21f0b4a" providerId="ADAL" clId="{94293865-27CB-4CCE-A49E-CBFD52BCCD90}" dt="2022-05-20T08:39:34.039" v="945" actId="14100"/>
          <ac:spMkLst>
            <pc:docMk/>
            <pc:sldMk cId="587187682" sldId="2147375835"/>
            <ac:spMk id="13" creationId="{E6AB0E9E-A8F4-4DC6-A4FB-B65D40250A2A}"/>
          </ac:spMkLst>
        </pc:spChg>
        <pc:spChg chg="mod ord">
          <ac:chgData name="Angela Liebana Medina" userId="33f3cdfd-f8b7-498b-b8ec-0f5ed21f0b4a" providerId="ADAL" clId="{94293865-27CB-4CCE-A49E-CBFD52BCCD90}" dt="2022-05-20T08:38:09.351" v="895"/>
          <ac:spMkLst>
            <pc:docMk/>
            <pc:sldMk cId="587187682" sldId="2147375835"/>
            <ac:spMk id="17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8:09.351" v="897"/>
          <ac:spMkLst>
            <pc:docMk/>
            <pc:sldMk cId="587187682" sldId="2147375835"/>
            <ac:spMk id="18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8:09.352" v="899"/>
          <ac:spMkLst>
            <pc:docMk/>
            <pc:sldMk cId="587187682" sldId="2147375835"/>
            <ac:spMk id="19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8:09.352" v="901"/>
          <ac:spMkLst>
            <pc:docMk/>
            <pc:sldMk cId="587187682" sldId="2147375835"/>
            <ac:spMk id="20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8:09.353" v="905"/>
          <ac:spMkLst>
            <pc:docMk/>
            <pc:sldMk cId="587187682" sldId="2147375835"/>
            <ac:spMk id="35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8:09.356" v="911"/>
          <ac:spMkLst>
            <pc:docMk/>
            <pc:sldMk cId="587187682" sldId="2147375835"/>
            <ac:spMk id="39" creationId="{D022CD94-B6A3-40C7-940A-88A504441EE5}"/>
          </ac:spMkLst>
        </pc:spChg>
        <pc:spChg chg="add del mod topLvl">
          <ac:chgData name="Angela Liebana Medina" userId="33f3cdfd-f8b7-498b-b8ec-0f5ed21f0b4a" providerId="ADAL" clId="{94293865-27CB-4CCE-A49E-CBFD52BCCD90}" dt="2022-05-20T08:41:32.222" v="956" actId="478"/>
          <ac:spMkLst>
            <pc:docMk/>
            <pc:sldMk cId="587187682" sldId="2147375835"/>
            <ac:spMk id="41" creationId="{B957A0A3-B54B-411A-9137-C08100F6C88D}"/>
          </ac:spMkLst>
        </pc:spChg>
        <pc:spChg chg="del mod topLvl">
          <ac:chgData name="Angela Liebana Medina" userId="33f3cdfd-f8b7-498b-b8ec-0f5ed21f0b4a" providerId="ADAL" clId="{94293865-27CB-4CCE-A49E-CBFD52BCCD90}" dt="2022-05-20T08:41:34.467" v="957" actId="478"/>
          <ac:spMkLst>
            <pc:docMk/>
            <pc:sldMk cId="587187682" sldId="2147375835"/>
            <ac:spMk id="42" creationId="{DFF4875E-1B87-458C-95E2-19C8D4917626}"/>
          </ac:spMkLst>
        </pc:spChg>
        <pc:spChg chg="mod topLvl">
          <ac:chgData name="Angela Liebana Medina" userId="33f3cdfd-f8b7-498b-b8ec-0f5ed21f0b4a" providerId="ADAL" clId="{94293865-27CB-4CCE-A49E-CBFD52BCCD90}" dt="2022-05-20T08:39:47.729" v="947" actId="14100"/>
          <ac:spMkLst>
            <pc:docMk/>
            <pc:sldMk cId="587187682" sldId="2147375835"/>
            <ac:spMk id="45" creationId="{5F363EE1-1A03-4BE3-8687-6500168B474A}"/>
          </ac:spMkLst>
        </pc:spChg>
        <pc:spChg chg="mod topLvl">
          <ac:chgData name="Angela Liebana Medina" userId="33f3cdfd-f8b7-498b-b8ec-0f5ed21f0b4a" providerId="ADAL" clId="{94293865-27CB-4CCE-A49E-CBFD52BCCD90}" dt="2022-05-20T08:39:39.858" v="946" actId="165"/>
          <ac:spMkLst>
            <pc:docMk/>
            <pc:sldMk cId="587187682" sldId="2147375835"/>
            <ac:spMk id="46" creationId="{1BFCF60B-B91A-4AFB-8FB5-E4E20532209D}"/>
          </ac:spMkLst>
        </pc:spChg>
        <pc:spChg chg="add del mod">
          <ac:chgData name="Angela Liebana Medina" userId="33f3cdfd-f8b7-498b-b8ec-0f5ed21f0b4a" providerId="ADAL" clId="{94293865-27CB-4CCE-A49E-CBFD52BCCD90}" dt="2022-05-20T08:38:46.639" v="938" actId="478"/>
          <ac:spMkLst>
            <pc:docMk/>
            <pc:sldMk cId="587187682" sldId="2147375835"/>
            <ac:spMk id="47" creationId="{16AD8AB8-7A9D-4FFF-AC8D-F464C794A65B}"/>
          </ac:spMkLst>
        </pc:spChg>
        <pc:spChg chg="del mod topLvl">
          <ac:chgData name="Angela Liebana Medina" userId="33f3cdfd-f8b7-498b-b8ec-0f5ed21f0b4a" providerId="ADAL" clId="{94293865-27CB-4CCE-A49E-CBFD52BCCD90}" dt="2022-05-20T08:42:24.576" v="966" actId="478"/>
          <ac:spMkLst>
            <pc:docMk/>
            <pc:sldMk cId="587187682" sldId="2147375835"/>
            <ac:spMk id="54" creationId="{3A66D447-7E86-4E4F-8A22-3D9C9CE65B43}"/>
          </ac:spMkLst>
        </pc:spChg>
        <pc:spChg chg="mod topLvl">
          <ac:chgData name="Angela Liebana Medina" userId="33f3cdfd-f8b7-498b-b8ec-0f5ed21f0b4a" providerId="ADAL" clId="{94293865-27CB-4CCE-A49E-CBFD52BCCD90}" dt="2022-05-20T08:42:21.971" v="965" actId="165"/>
          <ac:spMkLst>
            <pc:docMk/>
            <pc:sldMk cId="587187682" sldId="2147375835"/>
            <ac:spMk id="55" creationId="{BEB047CA-A3BB-4947-9533-DBA121183A3B}"/>
          </ac:spMkLst>
        </pc:spChg>
        <pc:spChg chg="del mod topLvl">
          <ac:chgData name="Angela Liebana Medina" userId="33f3cdfd-f8b7-498b-b8ec-0f5ed21f0b4a" providerId="ADAL" clId="{94293865-27CB-4CCE-A49E-CBFD52BCCD90}" dt="2022-05-20T08:42:11.084" v="964" actId="478"/>
          <ac:spMkLst>
            <pc:docMk/>
            <pc:sldMk cId="587187682" sldId="2147375835"/>
            <ac:spMk id="58" creationId="{E5656D5B-FA62-435B-A5CE-7AD5DE5BD005}"/>
          </ac:spMkLst>
        </pc:spChg>
        <pc:spChg chg="mod topLvl">
          <ac:chgData name="Angela Liebana Medina" userId="33f3cdfd-f8b7-498b-b8ec-0f5ed21f0b4a" providerId="ADAL" clId="{94293865-27CB-4CCE-A49E-CBFD52BCCD90}" dt="2022-05-20T08:42:08.665" v="963" actId="165"/>
          <ac:spMkLst>
            <pc:docMk/>
            <pc:sldMk cId="587187682" sldId="2147375835"/>
            <ac:spMk id="59" creationId="{8799CEAB-7094-4A7E-BC44-88C402A9D81F}"/>
          </ac:spMkLst>
        </pc:spChg>
        <pc:spChg chg="del mod topLvl">
          <ac:chgData name="Angela Liebana Medina" userId="33f3cdfd-f8b7-498b-b8ec-0f5ed21f0b4a" providerId="ADAL" clId="{94293865-27CB-4CCE-A49E-CBFD52BCCD90}" dt="2022-05-20T08:42:43.093" v="971" actId="478"/>
          <ac:spMkLst>
            <pc:docMk/>
            <pc:sldMk cId="587187682" sldId="2147375835"/>
            <ac:spMk id="62" creationId="{AFF9CA53-D46E-43AF-95B2-42F836E80522}"/>
          </ac:spMkLst>
        </pc:spChg>
        <pc:spChg chg="mod topLvl">
          <ac:chgData name="Angela Liebana Medina" userId="33f3cdfd-f8b7-498b-b8ec-0f5ed21f0b4a" providerId="ADAL" clId="{94293865-27CB-4CCE-A49E-CBFD52BCCD90}" dt="2022-05-20T08:42:39.621" v="970" actId="165"/>
          <ac:spMkLst>
            <pc:docMk/>
            <pc:sldMk cId="587187682" sldId="2147375835"/>
            <ac:spMk id="63" creationId="{0BC868F6-9A34-4986-86EA-EB2C9FCE0843}"/>
          </ac:spMkLst>
        </pc:spChg>
        <pc:spChg chg="mod ord">
          <ac:chgData name="Angela Liebana Medina" userId="33f3cdfd-f8b7-498b-b8ec-0f5ed21f0b4a" providerId="ADAL" clId="{94293865-27CB-4CCE-A49E-CBFD52BCCD90}" dt="2022-05-20T08:40:46.501" v="950" actId="554"/>
          <ac:spMkLst>
            <pc:docMk/>
            <pc:sldMk cId="587187682" sldId="2147375835"/>
            <ac:spMk id="71" creationId="{19788C76-4CAF-43FD-9C0E-362431A12E69}"/>
          </ac:spMkLst>
        </pc:spChg>
        <pc:spChg chg="mod ord">
          <ac:chgData name="Angela Liebana Medina" userId="33f3cdfd-f8b7-498b-b8ec-0f5ed21f0b4a" providerId="ADAL" clId="{94293865-27CB-4CCE-A49E-CBFD52BCCD90}" dt="2022-05-20T08:40:46.501" v="950" actId="554"/>
          <ac:spMkLst>
            <pc:docMk/>
            <pc:sldMk cId="587187682" sldId="2147375835"/>
            <ac:spMk id="79" creationId="{034041A6-5BD6-44D2-AE55-CDB9E8B479F5}"/>
          </ac:spMkLst>
        </pc:spChg>
        <pc:grpChg chg="del mod ord">
          <ac:chgData name="Angela Liebana Medina" userId="33f3cdfd-f8b7-498b-b8ec-0f5ed21f0b4a" providerId="ADAL" clId="{94293865-27CB-4CCE-A49E-CBFD52BCCD90}" dt="2022-05-20T08:39:11.270" v="940" actId="165"/>
          <ac:grpSpMkLst>
            <pc:docMk/>
            <pc:sldMk cId="587187682" sldId="2147375835"/>
            <ac:grpSpMk id="2" creationId="{A5B2D0DF-660A-4F48-9038-8AB5D7C7A1F7}"/>
          </ac:grpSpMkLst>
        </pc:grpChg>
        <pc:grpChg chg="del mod ord">
          <ac:chgData name="Angela Liebana Medina" userId="33f3cdfd-f8b7-498b-b8ec-0f5ed21f0b4a" providerId="ADAL" clId="{94293865-27CB-4CCE-A49E-CBFD52BCCD90}" dt="2022-05-20T08:42:00.151" v="961" actId="165"/>
          <ac:grpSpMkLst>
            <pc:docMk/>
            <pc:sldMk cId="587187682" sldId="2147375835"/>
            <ac:grpSpMk id="10" creationId="{9AD04BBF-3B86-4E55-9828-84506258D98C}"/>
          </ac:grpSpMkLst>
        </pc:grpChg>
        <pc:grpChg chg="del mod ord">
          <ac:chgData name="Angela Liebana Medina" userId="33f3cdfd-f8b7-498b-b8ec-0f5ed21f0b4a" providerId="ADAL" clId="{94293865-27CB-4CCE-A49E-CBFD52BCCD90}" dt="2022-05-20T08:41:18.387" v="951" actId="165"/>
          <ac:grpSpMkLst>
            <pc:docMk/>
            <pc:sldMk cId="587187682" sldId="2147375835"/>
            <ac:grpSpMk id="12" creationId="{7293A1A1-4365-43C4-9C79-4ED4E4F97DA6}"/>
          </ac:grpSpMkLst>
        </pc:grpChg>
        <pc:grpChg chg="del mod ord">
          <ac:chgData name="Angela Liebana Medina" userId="33f3cdfd-f8b7-498b-b8ec-0f5ed21f0b4a" providerId="ADAL" clId="{94293865-27CB-4CCE-A49E-CBFD52BCCD90}" dt="2022-05-20T08:39:39.858" v="946" actId="165"/>
          <ac:grpSpMkLst>
            <pc:docMk/>
            <pc:sldMk cId="587187682" sldId="2147375835"/>
            <ac:grpSpMk id="44" creationId="{49804165-2659-456B-89F9-E0007A686577}"/>
          </ac:grpSpMkLst>
        </pc:grpChg>
        <pc:grpChg chg="del mod ord">
          <ac:chgData name="Angela Liebana Medina" userId="33f3cdfd-f8b7-498b-b8ec-0f5ed21f0b4a" providerId="ADAL" clId="{94293865-27CB-4CCE-A49E-CBFD52BCCD90}" dt="2022-05-20T08:42:21.971" v="965" actId="165"/>
          <ac:grpSpMkLst>
            <pc:docMk/>
            <pc:sldMk cId="587187682" sldId="2147375835"/>
            <ac:grpSpMk id="53" creationId="{416EB4DE-8BD7-4D7F-AD07-7D1B0BE296F6}"/>
          </ac:grpSpMkLst>
        </pc:grpChg>
        <pc:grpChg chg="del mod ord">
          <ac:chgData name="Angela Liebana Medina" userId="33f3cdfd-f8b7-498b-b8ec-0f5ed21f0b4a" providerId="ADAL" clId="{94293865-27CB-4CCE-A49E-CBFD52BCCD90}" dt="2022-05-20T08:42:08.665" v="963" actId="165"/>
          <ac:grpSpMkLst>
            <pc:docMk/>
            <pc:sldMk cId="587187682" sldId="2147375835"/>
            <ac:grpSpMk id="57" creationId="{87A73128-049D-463E-9905-C2DA8FBCFF56}"/>
          </ac:grpSpMkLst>
        </pc:grpChg>
        <pc:grpChg chg="add del mod topLvl">
          <ac:chgData name="Angela Liebana Medina" userId="33f3cdfd-f8b7-498b-b8ec-0f5ed21f0b4a" providerId="ADAL" clId="{94293865-27CB-4CCE-A49E-CBFD52BCCD90}" dt="2022-05-20T08:42:39.621" v="970" actId="165"/>
          <ac:grpSpMkLst>
            <pc:docMk/>
            <pc:sldMk cId="587187682" sldId="2147375835"/>
            <ac:grpSpMk id="61" creationId="{95B757F3-BA91-42EB-8B3F-A20F83F97407}"/>
          </ac:grpSpMkLst>
        </pc:grpChg>
        <pc:grpChg chg="del mod ord">
          <ac:chgData name="Angela Liebana Medina" userId="33f3cdfd-f8b7-498b-b8ec-0f5ed21f0b4a" providerId="ADAL" clId="{94293865-27CB-4CCE-A49E-CBFD52BCCD90}" dt="2022-05-20T08:42:30.507" v="967" actId="165"/>
          <ac:grpSpMkLst>
            <pc:docMk/>
            <pc:sldMk cId="587187682" sldId="2147375835"/>
            <ac:grpSpMk id="67" creationId="{47FF87D6-45C6-40DD-8DA2-32648C36BE92}"/>
          </ac:grpSpMkLst>
        </pc:grpChg>
        <pc:graphicFrameChg chg="mod">
          <ac:chgData name="Angela Liebana Medina" userId="33f3cdfd-f8b7-498b-b8ec-0f5ed21f0b4a" providerId="ADAL" clId="{94293865-27CB-4CCE-A49E-CBFD52BCCD90}" dt="2022-05-20T08:38:09.371" v="934"/>
          <ac:graphicFrameMkLst>
            <pc:docMk/>
            <pc:sldMk cId="587187682" sldId="2147375835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08:38:09.357" v="914"/>
          <ac:picMkLst>
            <pc:docMk/>
            <pc:sldMk cId="587187682" sldId="2147375835"/>
            <ac:picMk id="23" creationId="{FB1450C6-98C3-476B-8FFF-E20306A40EC5}"/>
          </ac:picMkLst>
        </pc:picChg>
        <pc:picChg chg="mod ord">
          <ac:chgData name="Angela Liebana Medina" userId="33f3cdfd-f8b7-498b-b8ec-0f5ed21f0b4a" providerId="ADAL" clId="{94293865-27CB-4CCE-A49E-CBFD52BCCD90}" dt="2022-05-20T08:38:09.361" v="926"/>
          <ac:picMkLst>
            <pc:docMk/>
            <pc:sldMk cId="587187682" sldId="2147375835"/>
            <ac:picMk id="24" creationId="{0CB6AB91-CC77-4F94-B7D3-FE8EDB912641}"/>
          </ac:picMkLst>
        </pc:picChg>
        <pc:picChg chg="mod topLvl">
          <ac:chgData name="Angela Liebana Medina" userId="33f3cdfd-f8b7-498b-b8ec-0f5ed21f0b4a" providerId="ADAL" clId="{94293865-27CB-4CCE-A49E-CBFD52BCCD90}" dt="2022-05-20T08:42:30.507" v="967" actId="165"/>
          <ac:picMkLst>
            <pc:docMk/>
            <pc:sldMk cId="587187682" sldId="2147375835"/>
            <ac:picMk id="29" creationId="{6E3029CA-ABAD-48C1-AA38-BA0C70DA8228}"/>
          </ac:picMkLst>
        </pc:picChg>
        <pc:picChg chg="mod topLvl">
          <ac:chgData name="Angela Liebana Medina" userId="33f3cdfd-f8b7-498b-b8ec-0f5ed21f0b4a" providerId="ADAL" clId="{94293865-27CB-4CCE-A49E-CBFD52BCCD90}" dt="2022-05-20T08:42:00.151" v="961" actId="165"/>
          <ac:picMkLst>
            <pc:docMk/>
            <pc:sldMk cId="587187682" sldId="2147375835"/>
            <ac:picMk id="34" creationId="{7BCD6833-7173-4824-8733-BB318685C011}"/>
          </ac:picMkLst>
        </pc:picChg>
        <pc:picChg chg="del mod topLvl">
          <ac:chgData name="Angela Liebana Medina" userId="33f3cdfd-f8b7-498b-b8ec-0f5ed21f0b4a" providerId="ADAL" clId="{94293865-27CB-4CCE-A49E-CBFD52BCCD90}" dt="2022-05-20T08:41:46.035" v="960" actId="478"/>
          <ac:picMkLst>
            <pc:docMk/>
            <pc:sldMk cId="587187682" sldId="2147375835"/>
            <ac:picMk id="43" creationId="{1400B4C5-B793-4A8E-B836-6ABE481914B0}"/>
          </ac:picMkLst>
        </pc:picChg>
        <pc:picChg chg="mod topLvl">
          <ac:chgData name="Angela Liebana Medina" userId="33f3cdfd-f8b7-498b-b8ec-0f5ed21f0b4a" providerId="ADAL" clId="{94293865-27CB-4CCE-A49E-CBFD52BCCD90}" dt="2022-05-20T08:42:08.665" v="963" actId="165"/>
          <ac:picMkLst>
            <pc:docMk/>
            <pc:sldMk cId="587187682" sldId="2147375835"/>
            <ac:picMk id="60" creationId="{50D91C4B-C399-4263-9E97-BB0BBCEACD2F}"/>
          </ac:picMkLst>
        </pc:picChg>
        <pc:cxnChg chg="mod ord">
          <ac:chgData name="Angela Liebana Medina" userId="33f3cdfd-f8b7-498b-b8ec-0f5ed21f0b4a" providerId="ADAL" clId="{94293865-27CB-4CCE-A49E-CBFD52BCCD90}" dt="2022-05-20T08:38:09.349" v="887"/>
          <ac:cxnSpMkLst>
            <pc:docMk/>
            <pc:sldMk cId="587187682" sldId="2147375835"/>
            <ac:cxnSpMk id="6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8:09.353" v="903"/>
          <ac:cxnSpMkLst>
            <pc:docMk/>
            <pc:sldMk cId="587187682" sldId="2147375835"/>
            <ac:cxnSpMk id="21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8:09.350" v="893"/>
          <ac:cxnSpMkLst>
            <pc:docMk/>
            <pc:sldMk cId="587187682" sldId="2147375835"/>
            <ac:cxnSpMk id="22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8:09.350" v="891"/>
          <ac:cxnSpMkLst>
            <pc:docMk/>
            <pc:sldMk cId="587187682" sldId="2147375835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08:38:09.356" v="913"/>
          <ac:cxnSpMkLst>
            <pc:docMk/>
            <pc:sldMk cId="587187682" sldId="2147375835"/>
            <ac:cxnSpMk id="48" creationId="{CA4A3689-DBE2-40CF-B5F3-2F5A7EF17177}"/>
          </ac:cxnSpMkLst>
        </pc:cxnChg>
      </pc:sldChg>
      <pc:sldChg chg="addSp delSp modSp add del mod">
        <pc:chgData name="Angela Liebana Medina" userId="33f3cdfd-f8b7-498b-b8ec-0f5ed21f0b4a" providerId="ADAL" clId="{94293865-27CB-4CCE-A49E-CBFD52BCCD90}" dt="2022-05-20T08:35:41.678" v="817" actId="47"/>
        <pc:sldMkLst>
          <pc:docMk/>
          <pc:sldMk cId="2730094915" sldId="2147375835"/>
        </pc:sldMkLst>
        <pc:spChg chg="add del mod modVis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4" creationId="{B7EC0A3B-717C-4FC1-B5CC-7C61139C858E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8" creationId="{EF111281-EBC1-45F5-A61A-127302E518D7}"/>
          </ac:spMkLst>
        </pc:spChg>
        <pc:spChg chg="mod ord topLvl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11" creationId="{8647B9F2-4832-4290-BC57-2389AD8FD811}"/>
          </ac:spMkLst>
        </pc:spChg>
        <pc:spChg chg="mod ord topLvl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13" creationId="{E6AB0E9E-A8F4-4DC6-A4FB-B65D40250A2A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17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18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19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20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35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39" creationId="{D022CD94-B6A3-40C7-940A-88A504441EE5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71" creationId="{19788C76-4CAF-43FD-9C0E-362431A12E69}"/>
          </ac:spMkLst>
        </pc:spChg>
        <pc:spChg chg="mod ord">
          <ac:chgData name="Angela Liebana Medina" userId="33f3cdfd-f8b7-498b-b8ec-0f5ed21f0b4a" providerId="ADAL" clId="{94293865-27CB-4CCE-A49E-CBFD52BCCD90}" dt="2022-05-20T08:35:19.225" v="814"/>
          <ac:spMkLst>
            <pc:docMk/>
            <pc:sldMk cId="2730094915" sldId="2147375835"/>
            <ac:spMk id="79" creationId="{034041A6-5BD6-44D2-AE55-CDB9E8B479F5}"/>
          </ac:spMkLst>
        </pc:spChg>
        <pc:grpChg chg="del">
          <ac:chgData name="Angela Liebana Medina" userId="33f3cdfd-f8b7-498b-b8ec-0f5ed21f0b4a" providerId="ADAL" clId="{94293865-27CB-4CCE-A49E-CBFD52BCCD90}" dt="2022-05-20T08:34:33.951" v="660" actId="165"/>
          <ac:grpSpMkLst>
            <pc:docMk/>
            <pc:sldMk cId="2730094915" sldId="2147375835"/>
            <ac:grpSpMk id="2" creationId="{A5B2D0DF-660A-4F48-9038-8AB5D7C7A1F7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10" creationId="{9AD04BBF-3B86-4E55-9828-84506258D98C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12" creationId="{7293A1A1-4365-43C4-9C79-4ED4E4F97DA6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44" creationId="{49804165-2659-456B-89F9-E0007A686577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53" creationId="{416EB4DE-8BD7-4D7F-AD07-7D1B0BE296F6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57" creationId="{87A73128-049D-463E-9905-C2DA8FBCFF56}"/>
          </ac:grpSpMkLst>
        </pc:grpChg>
        <pc:grpChg chg="mod ord">
          <ac:chgData name="Angela Liebana Medina" userId="33f3cdfd-f8b7-498b-b8ec-0f5ed21f0b4a" providerId="ADAL" clId="{94293865-27CB-4CCE-A49E-CBFD52BCCD90}" dt="2022-05-20T08:35:19.225" v="814"/>
          <ac:grpSpMkLst>
            <pc:docMk/>
            <pc:sldMk cId="2730094915" sldId="2147375835"/>
            <ac:grpSpMk id="67" creationId="{47FF87D6-45C6-40DD-8DA2-32648C36BE92}"/>
          </ac:grpSpMkLst>
        </pc:grpChg>
        <pc:graphicFrameChg chg="mod">
          <ac:chgData name="Angela Liebana Medina" userId="33f3cdfd-f8b7-498b-b8ec-0f5ed21f0b4a" providerId="ADAL" clId="{94293865-27CB-4CCE-A49E-CBFD52BCCD90}" dt="2022-05-20T08:35:19.245" v="816"/>
          <ac:graphicFrameMkLst>
            <pc:docMk/>
            <pc:sldMk cId="2730094915" sldId="2147375835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08:35:17.111" v="731"/>
          <ac:picMkLst>
            <pc:docMk/>
            <pc:sldMk cId="2730094915" sldId="2147375835"/>
            <ac:picMk id="23" creationId="{FB1450C6-98C3-476B-8FFF-E20306A40EC5}"/>
          </ac:picMkLst>
        </pc:picChg>
        <pc:picChg chg="mod ord">
          <ac:chgData name="Angela Liebana Medina" userId="33f3cdfd-f8b7-498b-b8ec-0f5ed21f0b4a" providerId="ADAL" clId="{94293865-27CB-4CCE-A49E-CBFD52BCCD90}" dt="2022-05-20T08:35:19.225" v="814"/>
          <ac:picMkLst>
            <pc:docMk/>
            <pc:sldMk cId="2730094915" sldId="2147375835"/>
            <ac:picMk id="24" creationId="{0CB6AB91-CC77-4F94-B7D3-FE8EDB912641}"/>
          </ac:picMkLst>
        </pc:picChg>
        <pc:cxnChg chg="mod ord">
          <ac:chgData name="Angela Liebana Medina" userId="33f3cdfd-f8b7-498b-b8ec-0f5ed21f0b4a" providerId="ADAL" clId="{94293865-27CB-4CCE-A49E-CBFD52BCCD90}" dt="2022-05-20T08:35:19.225" v="814"/>
          <ac:cxnSpMkLst>
            <pc:docMk/>
            <pc:sldMk cId="2730094915" sldId="2147375835"/>
            <ac:cxnSpMk id="6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5:19.225" v="814"/>
          <ac:cxnSpMkLst>
            <pc:docMk/>
            <pc:sldMk cId="2730094915" sldId="2147375835"/>
            <ac:cxnSpMk id="21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5:19.225" v="814"/>
          <ac:cxnSpMkLst>
            <pc:docMk/>
            <pc:sldMk cId="2730094915" sldId="2147375835"/>
            <ac:cxnSpMk id="22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35:19.225" v="814"/>
          <ac:cxnSpMkLst>
            <pc:docMk/>
            <pc:sldMk cId="2730094915" sldId="2147375835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08:35:19.225" v="814"/>
          <ac:cxnSpMkLst>
            <pc:docMk/>
            <pc:sldMk cId="2730094915" sldId="2147375835"/>
            <ac:cxnSpMk id="48" creationId="{CA4A3689-DBE2-40CF-B5F3-2F5A7EF17177}"/>
          </ac:cxnSpMkLst>
        </pc:cxnChg>
      </pc:sldChg>
      <pc:sldChg chg="addSp delSp modSp add del mod">
        <pc:chgData name="Angela Liebana Medina" userId="33f3cdfd-f8b7-498b-b8ec-0f5ed21f0b4a" providerId="ADAL" clId="{94293865-27CB-4CCE-A49E-CBFD52BCCD90}" dt="2022-05-20T10:27:49.541" v="2275" actId="47"/>
        <pc:sldMkLst>
          <pc:docMk/>
          <pc:sldMk cId="3375752557" sldId="2147375836"/>
        </pc:sldMkLst>
        <pc:spChg chg="mod ord">
          <ac:chgData name="Angela Liebana Medina" userId="33f3cdfd-f8b7-498b-b8ec-0f5ed21f0b4a" providerId="ADAL" clId="{94293865-27CB-4CCE-A49E-CBFD52BCCD90}" dt="2022-05-20T08:52:22.077" v="1243"/>
          <ac:spMkLst>
            <pc:docMk/>
            <pc:sldMk cId="3375752557" sldId="2147375836"/>
            <ac:spMk id="4" creationId="{444E28E4-126B-4513-8568-8C2A86FD0469}"/>
          </ac:spMkLst>
        </pc:spChg>
        <pc:spChg chg="del">
          <ac:chgData name="Angela Liebana Medina" userId="33f3cdfd-f8b7-498b-b8ec-0f5ed21f0b4a" providerId="ADAL" clId="{94293865-27CB-4CCE-A49E-CBFD52BCCD90}" dt="2022-05-20T08:48:02.362" v="1077" actId="478"/>
          <ac:spMkLst>
            <pc:docMk/>
            <pc:sldMk cId="3375752557" sldId="2147375836"/>
            <ac:spMk id="7" creationId="{8DBF8C74-99AF-4267-8359-032B46F8FF8D}"/>
          </ac:spMkLst>
        </pc:spChg>
        <pc:spChg chg="mod ord">
          <ac:chgData name="Angela Liebana Medina" userId="33f3cdfd-f8b7-498b-b8ec-0f5ed21f0b4a" providerId="ADAL" clId="{94293865-27CB-4CCE-A49E-CBFD52BCCD90}" dt="2022-05-20T08:52:22.077" v="1243"/>
          <ac:spMkLst>
            <pc:docMk/>
            <pc:sldMk cId="3375752557" sldId="2147375836"/>
            <ac:spMk id="8" creationId="{EF111281-EBC1-45F5-A61A-127302E518D7}"/>
          </ac:spMkLst>
        </pc:spChg>
        <pc:spChg chg="add del mod ord">
          <ac:chgData name="Angela Liebana Medina" userId="33f3cdfd-f8b7-498b-b8ec-0f5ed21f0b4a" providerId="ADAL" clId="{94293865-27CB-4CCE-A49E-CBFD52BCCD90}" dt="2022-05-20T08:57:57.770" v="1429" actId="478"/>
          <ac:spMkLst>
            <pc:docMk/>
            <pc:sldMk cId="3375752557" sldId="2147375836"/>
            <ac:spMk id="11" creationId="{8647B9F2-4832-4290-BC57-2389AD8FD811}"/>
          </ac:spMkLst>
        </pc:spChg>
        <pc:spChg chg="add del mod ord">
          <ac:chgData name="Angela Liebana Medina" userId="33f3cdfd-f8b7-498b-b8ec-0f5ed21f0b4a" providerId="ADAL" clId="{94293865-27CB-4CCE-A49E-CBFD52BCCD90}" dt="2022-05-20T08:57:58.231" v="1430" actId="478"/>
          <ac:spMkLst>
            <pc:docMk/>
            <pc:sldMk cId="3375752557" sldId="2147375836"/>
            <ac:spMk id="13" creationId="{E6AB0E9E-A8F4-4DC6-A4FB-B65D40250A2A}"/>
          </ac:spMkLst>
        </pc:spChg>
        <pc:spChg chg="mod">
          <ac:chgData name="Angela Liebana Medina" userId="33f3cdfd-f8b7-498b-b8ec-0f5ed21f0b4a" providerId="ADAL" clId="{94293865-27CB-4CCE-A49E-CBFD52BCCD90}" dt="2022-05-20T08:53:55.650" v="1376" actId="1038"/>
          <ac:spMkLst>
            <pc:docMk/>
            <pc:sldMk cId="3375752557" sldId="2147375836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8:53:55.650" v="1376" actId="1038"/>
          <ac:spMkLst>
            <pc:docMk/>
            <pc:sldMk cId="3375752557" sldId="2147375836"/>
            <ac:spMk id="18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08:53:55.650" v="1376" actId="1038"/>
          <ac:spMkLst>
            <pc:docMk/>
            <pc:sldMk cId="3375752557" sldId="2147375836"/>
            <ac:spMk id="19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08:53:55.650" v="1376" actId="1038"/>
          <ac:spMkLst>
            <pc:docMk/>
            <pc:sldMk cId="3375752557" sldId="2147375836"/>
            <ac:spMk id="20" creationId="{00000000-0000-0000-0000-000000000000}"/>
          </ac:spMkLst>
        </pc:spChg>
        <pc:spChg chg="add del mod modVis">
          <ac:chgData name="Angela Liebana Medina" userId="33f3cdfd-f8b7-498b-b8ec-0f5ed21f0b4a" providerId="ADAL" clId="{94293865-27CB-4CCE-A49E-CBFD52BCCD90}" dt="2022-05-20T08:52:22.077" v="1243"/>
          <ac:spMkLst>
            <pc:docMk/>
            <pc:sldMk cId="3375752557" sldId="2147375836"/>
            <ac:spMk id="30" creationId="{1C630DEF-3C14-42E2-AC30-5F876DC6277F}"/>
          </ac:spMkLst>
        </pc:spChg>
        <pc:spChg chg="add mod">
          <ac:chgData name="Angela Liebana Medina" userId="33f3cdfd-f8b7-498b-b8ec-0f5ed21f0b4a" providerId="ADAL" clId="{94293865-27CB-4CCE-A49E-CBFD52BCCD90}" dt="2022-05-20T09:01:13.081" v="1470" actId="1076"/>
          <ac:spMkLst>
            <pc:docMk/>
            <pc:sldMk cId="3375752557" sldId="2147375836"/>
            <ac:spMk id="33" creationId="{AC5F5B59-5E67-48B4-A99A-3F4E00B8539C}"/>
          </ac:spMkLst>
        </pc:spChg>
        <pc:spChg chg="del mod">
          <ac:chgData name="Angela Liebana Medina" userId="33f3cdfd-f8b7-498b-b8ec-0f5ed21f0b4a" providerId="ADAL" clId="{94293865-27CB-4CCE-A49E-CBFD52BCCD90}" dt="2022-05-20T08:50:49.232" v="1107" actId="478"/>
          <ac:spMkLst>
            <pc:docMk/>
            <pc:sldMk cId="3375752557" sldId="2147375836"/>
            <ac:spMk id="35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8:52:22.077" v="1243"/>
          <ac:spMkLst>
            <pc:docMk/>
            <pc:sldMk cId="3375752557" sldId="2147375836"/>
            <ac:spMk id="39" creationId="{D022CD94-B6A3-40C7-940A-88A504441EE5}"/>
          </ac:spMkLst>
        </pc:spChg>
        <pc:spChg chg="mod">
          <ac:chgData name="Angela Liebana Medina" userId="33f3cdfd-f8b7-498b-b8ec-0f5ed21f0b4a" providerId="ADAL" clId="{94293865-27CB-4CCE-A49E-CBFD52BCCD90}" dt="2022-05-20T08:47:08.600" v="1048"/>
          <ac:spMkLst>
            <pc:docMk/>
            <pc:sldMk cId="3375752557" sldId="2147375836"/>
            <ac:spMk id="42" creationId="{ADFBE746-0C66-4B85-9275-D2211810FC15}"/>
          </ac:spMkLst>
        </pc:spChg>
        <pc:spChg chg="mod">
          <ac:chgData name="Angela Liebana Medina" userId="33f3cdfd-f8b7-498b-b8ec-0f5ed21f0b4a" providerId="ADAL" clId="{94293865-27CB-4CCE-A49E-CBFD52BCCD90}" dt="2022-05-20T08:47:08.600" v="1048"/>
          <ac:spMkLst>
            <pc:docMk/>
            <pc:sldMk cId="3375752557" sldId="2147375836"/>
            <ac:spMk id="44" creationId="{B1888235-EAFE-4C40-B5CD-8BB9730B5B36}"/>
          </ac:spMkLst>
        </pc:spChg>
        <pc:spChg chg="add del mod ord">
          <ac:chgData name="Angela Liebana Medina" userId="33f3cdfd-f8b7-498b-b8ec-0f5ed21f0b4a" providerId="ADAL" clId="{94293865-27CB-4CCE-A49E-CBFD52BCCD90}" dt="2022-05-20T08:57:56.992" v="1428" actId="478"/>
          <ac:spMkLst>
            <pc:docMk/>
            <pc:sldMk cId="3375752557" sldId="2147375836"/>
            <ac:spMk id="45" creationId="{5F363EE1-1A03-4BE3-8687-6500168B474A}"/>
          </ac:spMkLst>
        </pc:spChg>
        <pc:spChg chg="add del mod ord">
          <ac:chgData name="Angela Liebana Medina" userId="33f3cdfd-f8b7-498b-b8ec-0f5ed21f0b4a" providerId="ADAL" clId="{94293865-27CB-4CCE-A49E-CBFD52BCCD90}" dt="2022-05-20T08:57:56.267" v="1427" actId="478"/>
          <ac:spMkLst>
            <pc:docMk/>
            <pc:sldMk cId="3375752557" sldId="2147375836"/>
            <ac:spMk id="46" creationId="{1BFCF60B-B91A-4AFB-8FB5-E4E20532209D}"/>
          </ac:spMkLst>
        </pc:spChg>
        <pc:spChg chg="mod">
          <ac:chgData name="Angela Liebana Medina" userId="33f3cdfd-f8b7-498b-b8ec-0f5ed21f0b4a" providerId="ADAL" clId="{94293865-27CB-4CCE-A49E-CBFD52BCCD90}" dt="2022-05-20T08:47:08.600" v="1048"/>
          <ac:spMkLst>
            <pc:docMk/>
            <pc:sldMk cId="3375752557" sldId="2147375836"/>
            <ac:spMk id="50" creationId="{63DF575C-0C74-414E-A1D8-AEF093D2985B}"/>
          </ac:spMkLst>
        </pc:spChg>
        <pc:spChg chg="mod">
          <ac:chgData name="Angela Liebana Medina" userId="33f3cdfd-f8b7-498b-b8ec-0f5ed21f0b4a" providerId="ADAL" clId="{94293865-27CB-4CCE-A49E-CBFD52BCCD90}" dt="2022-05-20T08:47:45.699" v="1071"/>
          <ac:spMkLst>
            <pc:docMk/>
            <pc:sldMk cId="3375752557" sldId="2147375836"/>
            <ac:spMk id="53" creationId="{5AA0D22E-7A28-45F4-BF1E-C7A739DF13F6}"/>
          </ac:spMkLst>
        </pc:spChg>
        <pc:spChg chg="mod">
          <ac:chgData name="Angela Liebana Medina" userId="33f3cdfd-f8b7-498b-b8ec-0f5ed21f0b4a" providerId="ADAL" clId="{94293865-27CB-4CCE-A49E-CBFD52BCCD90}" dt="2022-05-20T08:46:37.483" v="1016" actId="164"/>
          <ac:spMkLst>
            <pc:docMk/>
            <pc:sldMk cId="3375752557" sldId="2147375836"/>
            <ac:spMk id="55" creationId="{BEB047CA-A3BB-4947-9533-DBA121183A3B}"/>
          </ac:spMkLst>
        </pc:spChg>
        <pc:spChg chg="mod">
          <ac:chgData name="Angela Liebana Medina" userId="33f3cdfd-f8b7-498b-b8ec-0f5ed21f0b4a" providerId="ADAL" clId="{94293865-27CB-4CCE-A49E-CBFD52BCCD90}" dt="2022-05-20T08:47:45.699" v="1071"/>
          <ac:spMkLst>
            <pc:docMk/>
            <pc:sldMk cId="3375752557" sldId="2147375836"/>
            <ac:spMk id="56" creationId="{730ECA3D-5D7D-46D9-91E4-B4C8E11A8EB6}"/>
          </ac:spMkLst>
        </pc:spChg>
        <pc:spChg chg="mod">
          <ac:chgData name="Angela Liebana Medina" userId="33f3cdfd-f8b7-498b-b8ec-0f5ed21f0b4a" providerId="ADAL" clId="{94293865-27CB-4CCE-A49E-CBFD52BCCD90}" dt="2022-05-20T08:46:40.910" v="1017" actId="164"/>
          <ac:spMkLst>
            <pc:docMk/>
            <pc:sldMk cId="3375752557" sldId="2147375836"/>
            <ac:spMk id="59" creationId="{8799CEAB-7094-4A7E-BC44-88C402A9D81F}"/>
          </ac:spMkLst>
        </pc:spChg>
        <pc:spChg chg="mod">
          <ac:chgData name="Angela Liebana Medina" userId="33f3cdfd-f8b7-498b-b8ec-0f5ed21f0b4a" providerId="ADAL" clId="{94293865-27CB-4CCE-A49E-CBFD52BCCD90}" dt="2022-05-20T08:47:45.699" v="1071"/>
          <ac:spMkLst>
            <pc:docMk/>
            <pc:sldMk cId="3375752557" sldId="2147375836"/>
            <ac:spMk id="61" creationId="{C3949635-D08B-4684-A0F6-DC12E44DAF84}"/>
          </ac:spMkLst>
        </pc:spChg>
        <pc:spChg chg="del">
          <ac:chgData name="Angela Liebana Medina" userId="33f3cdfd-f8b7-498b-b8ec-0f5ed21f0b4a" providerId="ADAL" clId="{94293865-27CB-4CCE-A49E-CBFD52BCCD90}" dt="2022-05-20T08:48:05.362" v="1079" actId="478"/>
          <ac:spMkLst>
            <pc:docMk/>
            <pc:sldMk cId="3375752557" sldId="2147375836"/>
            <ac:spMk id="63" creationId="{0BC868F6-9A34-4986-86EA-EB2C9FCE0843}"/>
          </ac:spMkLst>
        </pc:spChg>
        <pc:spChg chg="del mod topLvl">
          <ac:chgData name="Angela Liebana Medina" userId="33f3cdfd-f8b7-498b-b8ec-0f5ed21f0b4a" providerId="ADAL" clId="{94293865-27CB-4CCE-A49E-CBFD52BCCD90}" dt="2022-05-20T08:56:45.857" v="1401" actId="478"/>
          <ac:spMkLst>
            <pc:docMk/>
            <pc:sldMk cId="3375752557" sldId="2147375836"/>
            <ac:spMk id="65" creationId="{6834E435-844C-40AC-968A-07C92771A2CE}"/>
          </ac:spMkLst>
        </pc:spChg>
        <pc:spChg chg="mod">
          <ac:chgData name="Angela Liebana Medina" userId="33f3cdfd-f8b7-498b-b8ec-0f5ed21f0b4a" providerId="ADAL" clId="{94293865-27CB-4CCE-A49E-CBFD52BCCD90}" dt="2022-05-20T08:48:12.309" v="1080"/>
          <ac:spMkLst>
            <pc:docMk/>
            <pc:sldMk cId="3375752557" sldId="2147375836"/>
            <ac:spMk id="67" creationId="{35A9873B-3972-4077-A047-3036D9A3F019}"/>
          </ac:spMkLst>
        </pc:spChg>
        <pc:spChg chg="mod">
          <ac:chgData name="Angela Liebana Medina" userId="33f3cdfd-f8b7-498b-b8ec-0f5ed21f0b4a" providerId="ADAL" clId="{94293865-27CB-4CCE-A49E-CBFD52BCCD90}" dt="2022-05-20T08:48:12.309" v="1080"/>
          <ac:spMkLst>
            <pc:docMk/>
            <pc:sldMk cId="3375752557" sldId="2147375836"/>
            <ac:spMk id="70" creationId="{F0BA3873-4F23-4EFB-84A6-907220C27AB7}"/>
          </ac:spMkLst>
        </pc:spChg>
        <pc:spChg chg="del mod topLvl">
          <ac:chgData name="Angela Liebana Medina" userId="33f3cdfd-f8b7-498b-b8ec-0f5ed21f0b4a" providerId="ADAL" clId="{94293865-27CB-4CCE-A49E-CBFD52BCCD90}" dt="2022-05-20T08:56:49.858" v="1402" actId="478"/>
          <ac:spMkLst>
            <pc:docMk/>
            <pc:sldMk cId="3375752557" sldId="2147375836"/>
            <ac:spMk id="71" creationId="{19788C76-4CAF-43FD-9C0E-362431A12E69}"/>
          </ac:spMkLst>
        </pc:spChg>
        <pc:spChg chg="add del mod">
          <ac:chgData name="Angela Liebana Medina" userId="33f3cdfd-f8b7-498b-b8ec-0f5ed21f0b4a" providerId="ADAL" clId="{94293865-27CB-4CCE-A49E-CBFD52BCCD90}" dt="2022-05-20T08:56:39.300" v="1400" actId="478"/>
          <ac:spMkLst>
            <pc:docMk/>
            <pc:sldMk cId="3375752557" sldId="2147375836"/>
            <ac:spMk id="74" creationId="{66FA8709-AA4A-47FD-B20C-83B29806E16B}"/>
          </ac:spMkLst>
        </pc:spChg>
        <pc:spChg chg="add mod">
          <ac:chgData name="Angela Liebana Medina" userId="33f3cdfd-f8b7-498b-b8ec-0f5ed21f0b4a" providerId="ADAL" clId="{94293865-27CB-4CCE-A49E-CBFD52BCCD90}" dt="2022-05-20T08:54:44.417" v="1396" actId="14100"/>
          <ac:spMkLst>
            <pc:docMk/>
            <pc:sldMk cId="3375752557" sldId="2147375836"/>
            <ac:spMk id="75" creationId="{C1865D26-770B-4EA2-8A44-1D67B0CF78C1}"/>
          </ac:spMkLst>
        </pc:spChg>
        <pc:spChg chg="add mod">
          <ac:chgData name="Angela Liebana Medina" userId="33f3cdfd-f8b7-498b-b8ec-0f5ed21f0b4a" providerId="ADAL" clId="{94293865-27CB-4CCE-A49E-CBFD52BCCD90}" dt="2022-05-20T09:00:37.679" v="1448" actId="1076"/>
          <ac:spMkLst>
            <pc:docMk/>
            <pc:sldMk cId="3375752557" sldId="2147375836"/>
            <ac:spMk id="76" creationId="{F29AB2D3-43DF-47A0-886F-BBC1362D16F6}"/>
          </ac:spMkLst>
        </pc:spChg>
        <pc:spChg chg="add del mod">
          <ac:chgData name="Angela Liebana Medina" userId="33f3cdfd-f8b7-498b-b8ec-0f5ed21f0b4a" providerId="ADAL" clId="{94293865-27CB-4CCE-A49E-CBFD52BCCD90}" dt="2022-05-20T08:57:55.916" v="1426"/>
          <ac:spMkLst>
            <pc:docMk/>
            <pc:sldMk cId="3375752557" sldId="2147375836"/>
            <ac:spMk id="77" creationId="{4311376F-832E-4344-A131-4DEE1D353AB0}"/>
          </ac:spMkLst>
        </pc:spChg>
        <pc:spChg chg="add del mod">
          <ac:chgData name="Angela Liebana Medina" userId="33f3cdfd-f8b7-498b-b8ec-0f5ed21f0b4a" providerId="ADAL" clId="{94293865-27CB-4CCE-A49E-CBFD52BCCD90}" dt="2022-05-20T09:00:06.427" v="1445" actId="478"/>
          <ac:spMkLst>
            <pc:docMk/>
            <pc:sldMk cId="3375752557" sldId="2147375836"/>
            <ac:spMk id="78" creationId="{3B198CE5-E102-4E59-8114-B65133380F98}"/>
          </ac:spMkLst>
        </pc:spChg>
        <pc:spChg chg="del">
          <ac:chgData name="Angela Liebana Medina" userId="33f3cdfd-f8b7-498b-b8ec-0f5ed21f0b4a" providerId="ADAL" clId="{94293865-27CB-4CCE-A49E-CBFD52BCCD90}" dt="2022-05-20T08:47:59.271" v="1075" actId="478"/>
          <ac:spMkLst>
            <pc:docMk/>
            <pc:sldMk cId="3375752557" sldId="2147375836"/>
            <ac:spMk id="79" creationId="{034041A6-5BD6-44D2-AE55-CDB9E8B479F5}"/>
          </ac:spMkLst>
        </pc:spChg>
        <pc:spChg chg="add del mod">
          <ac:chgData name="Angela Liebana Medina" userId="33f3cdfd-f8b7-498b-b8ec-0f5ed21f0b4a" providerId="ADAL" clId="{94293865-27CB-4CCE-A49E-CBFD52BCCD90}" dt="2022-05-20T09:00:05.387" v="1444" actId="478"/>
          <ac:spMkLst>
            <pc:docMk/>
            <pc:sldMk cId="3375752557" sldId="2147375836"/>
            <ac:spMk id="80" creationId="{26F510B7-BF64-4462-9421-2BABA7D2F5F3}"/>
          </ac:spMkLst>
        </pc:spChg>
        <pc:grpChg chg="add mod">
          <ac:chgData name="Angela Liebana Medina" userId="33f3cdfd-f8b7-498b-b8ec-0f5ed21f0b4a" providerId="ADAL" clId="{94293865-27CB-4CCE-A49E-CBFD52BCCD90}" dt="2022-05-20T08:53:55.650" v="1376" actId="1038"/>
          <ac:grpSpMkLst>
            <pc:docMk/>
            <pc:sldMk cId="3375752557" sldId="2147375836"/>
            <ac:grpSpMk id="2" creationId="{5D736DE2-7694-4004-9DEA-2391CED91C8F}"/>
          </ac:grpSpMkLst>
        </pc:grpChg>
        <pc:grpChg chg="add mod topLvl">
          <ac:chgData name="Angela Liebana Medina" userId="33f3cdfd-f8b7-498b-b8ec-0f5ed21f0b4a" providerId="ADAL" clId="{94293865-27CB-4CCE-A49E-CBFD52BCCD90}" dt="2022-05-20T08:53:55.650" v="1376" actId="1038"/>
          <ac:grpSpMkLst>
            <pc:docMk/>
            <pc:sldMk cId="3375752557" sldId="2147375836"/>
            <ac:grpSpMk id="5" creationId="{D0BCE8B9-055E-49D6-8086-C797AF92AF04}"/>
          </ac:grpSpMkLst>
        </pc:grpChg>
        <pc:grpChg chg="add del mod">
          <ac:chgData name="Angela Liebana Medina" userId="33f3cdfd-f8b7-498b-b8ec-0f5ed21f0b4a" providerId="ADAL" clId="{94293865-27CB-4CCE-A49E-CBFD52BCCD90}" dt="2022-05-20T08:45:14.597" v="995" actId="165"/>
          <ac:grpSpMkLst>
            <pc:docMk/>
            <pc:sldMk cId="3375752557" sldId="2147375836"/>
            <ac:grpSpMk id="9" creationId="{9D5E8565-AD09-48E6-ADEC-2F669280300F}"/>
          </ac:grpSpMkLst>
        </pc:grpChg>
        <pc:grpChg chg="add mod">
          <ac:chgData name="Angela Liebana Medina" userId="33f3cdfd-f8b7-498b-b8ec-0f5ed21f0b4a" providerId="ADAL" clId="{94293865-27CB-4CCE-A49E-CBFD52BCCD90}" dt="2022-05-20T08:45:40.356" v="1004" actId="164"/>
          <ac:grpSpMkLst>
            <pc:docMk/>
            <pc:sldMk cId="3375752557" sldId="2147375836"/>
            <ac:grpSpMk id="10" creationId="{2C1E3C66-416A-43C6-86AF-BF48D7D26541}"/>
          </ac:grpSpMkLst>
        </pc:grpChg>
        <pc:grpChg chg="add mod">
          <ac:chgData name="Angela Liebana Medina" userId="33f3cdfd-f8b7-498b-b8ec-0f5ed21f0b4a" providerId="ADAL" clId="{94293865-27CB-4CCE-A49E-CBFD52BCCD90}" dt="2022-05-20T08:53:55.650" v="1376" actId="1038"/>
          <ac:grpSpMkLst>
            <pc:docMk/>
            <pc:sldMk cId="3375752557" sldId="2147375836"/>
            <ac:grpSpMk id="12" creationId="{C5C8D1B5-4578-46EB-BB8D-D53A30164640}"/>
          </ac:grpSpMkLst>
        </pc:grpChg>
        <pc:grpChg chg="add mod">
          <ac:chgData name="Angela Liebana Medina" userId="33f3cdfd-f8b7-498b-b8ec-0f5ed21f0b4a" providerId="ADAL" clId="{94293865-27CB-4CCE-A49E-CBFD52BCCD90}" dt="2022-05-20T08:53:55.650" v="1376" actId="1038"/>
          <ac:grpSpMkLst>
            <pc:docMk/>
            <pc:sldMk cId="3375752557" sldId="2147375836"/>
            <ac:grpSpMk id="14" creationId="{FBEE5CF9-2D36-4264-8FA2-D53DF3A6AB2B}"/>
          </ac:grpSpMkLst>
        </pc:grpChg>
        <pc:grpChg chg="add mod">
          <ac:chgData name="Angela Liebana Medina" userId="33f3cdfd-f8b7-498b-b8ec-0f5ed21f0b4a" providerId="ADAL" clId="{94293865-27CB-4CCE-A49E-CBFD52BCCD90}" dt="2022-05-20T08:53:55.650" v="1376" actId="1038"/>
          <ac:grpSpMkLst>
            <pc:docMk/>
            <pc:sldMk cId="3375752557" sldId="2147375836"/>
            <ac:grpSpMk id="15" creationId="{6437F1D1-D2D7-4954-B3B5-955D942F93B7}"/>
          </ac:grpSpMkLst>
        </pc:grpChg>
        <pc:grpChg chg="add mod">
          <ac:chgData name="Angela Liebana Medina" userId="33f3cdfd-f8b7-498b-b8ec-0f5ed21f0b4a" providerId="ADAL" clId="{94293865-27CB-4CCE-A49E-CBFD52BCCD90}" dt="2022-05-20T08:46:40.910" v="1017" actId="164"/>
          <ac:grpSpMkLst>
            <pc:docMk/>
            <pc:sldMk cId="3375752557" sldId="2147375836"/>
            <ac:grpSpMk id="16" creationId="{9519D01A-B292-41BE-AA89-03329021D72D}"/>
          </ac:grpSpMkLst>
        </pc:grpChg>
        <pc:grpChg chg="add mod topLvl">
          <ac:chgData name="Angela Liebana Medina" userId="33f3cdfd-f8b7-498b-b8ec-0f5ed21f0b4a" providerId="ADAL" clId="{94293865-27CB-4CCE-A49E-CBFD52BCCD90}" dt="2022-05-20T08:56:49.858" v="1402" actId="478"/>
          <ac:grpSpMkLst>
            <pc:docMk/>
            <pc:sldMk cId="3375752557" sldId="2147375836"/>
            <ac:grpSpMk id="25" creationId="{F78CA825-E85D-43D1-9170-B768E6B66247}"/>
          </ac:grpSpMkLst>
        </pc:grpChg>
        <pc:grpChg chg="add del mod ord">
          <ac:chgData name="Angela Liebana Medina" userId="33f3cdfd-f8b7-498b-b8ec-0f5ed21f0b4a" providerId="ADAL" clId="{94293865-27CB-4CCE-A49E-CBFD52BCCD90}" dt="2022-05-20T08:56:49.858" v="1402" actId="478"/>
          <ac:grpSpMkLst>
            <pc:docMk/>
            <pc:sldMk cId="3375752557" sldId="2147375836"/>
            <ac:grpSpMk id="26" creationId="{250D2077-526D-4BA1-BE9F-6E42C85CF0C5}"/>
          </ac:grpSpMkLst>
        </pc:grpChg>
        <pc:grpChg chg="add del mod">
          <ac:chgData name="Angela Liebana Medina" userId="33f3cdfd-f8b7-498b-b8ec-0f5ed21f0b4a" providerId="ADAL" clId="{94293865-27CB-4CCE-A49E-CBFD52BCCD90}" dt="2022-05-20T08:47:13.037" v="1049"/>
          <ac:grpSpMkLst>
            <pc:docMk/>
            <pc:sldMk cId="3375752557" sldId="2147375836"/>
            <ac:grpSpMk id="41" creationId="{91C778D0-527F-48E1-9993-35ED9662E9C8}"/>
          </ac:grpSpMkLst>
        </pc:grpChg>
        <pc:grpChg chg="mod">
          <ac:chgData name="Angela Liebana Medina" userId="33f3cdfd-f8b7-498b-b8ec-0f5ed21f0b4a" providerId="ADAL" clId="{94293865-27CB-4CCE-A49E-CBFD52BCCD90}" dt="2022-05-20T08:47:08.600" v="1048"/>
          <ac:grpSpMkLst>
            <pc:docMk/>
            <pc:sldMk cId="3375752557" sldId="2147375836"/>
            <ac:grpSpMk id="43" creationId="{FFE9CF23-FE15-4158-8E7C-B0611C0731FA}"/>
          </ac:grpSpMkLst>
        </pc:grpChg>
        <pc:grpChg chg="mod">
          <ac:chgData name="Angela Liebana Medina" userId="33f3cdfd-f8b7-498b-b8ec-0f5ed21f0b4a" providerId="ADAL" clId="{94293865-27CB-4CCE-A49E-CBFD52BCCD90}" dt="2022-05-20T08:47:08.600" v="1048"/>
          <ac:grpSpMkLst>
            <pc:docMk/>
            <pc:sldMk cId="3375752557" sldId="2147375836"/>
            <ac:grpSpMk id="49" creationId="{36753296-7B74-469B-A2C5-F60124DF05CF}"/>
          </ac:grpSpMkLst>
        </pc:grpChg>
        <pc:grpChg chg="add del mod">
          <ac:chgData name="Angela Liebana Medina" userId="33f3cdfd-f8b7-498b-b8ec-0f5ed21f0b4a" providerId="ADAL" clId="{94293865-27CB-4CCE-A49E-CBFD52BCCD90}" dt="2022-05-20T08:47:55.613" v="1074"/>
          <ac:grpSpMkLst>
            <pc:docMk/>
            <pc:sldMk cId="3375752557" sldId="2147375836"/>
            <ac:grpSpMk id="52" creationId="{B20F90A3-6673-4CDB-81AC-14DC08F31F10}"/>
          </ac:grpSpMkLst>
        </pc:grpChg>
        <pc:grpChg chg="mod">
          <ac:chgData name="Angela Liebana Medina" userId="33f3cdfd-f8b7-498b-b8ec-0f5ed21f0b4a" providerId="ADAL" clId="{94293865-27CB-4CCE-A49E-CBFD52BCCD90}" dt="2022-05-20T08:47:45.699" v="1071"/>
          <ac:grpSpMkLst>
            <pc:docMk/>
            <pc:sldMk cId="3375752557" sldId="2147375836"/>
            <ac:grpSpMk id="54" creationId="{E1477D3D-DBD2-42EC-AA9B-C9704D9C16FD}"/>
          </ac:grpSpMkLst>
        </pc:grpChg>
        <pc:grpChg chg="mod">
          <ac:chgData name="Angela Liebana Medina" userId="33f3cdfd-f8b7-498b-b8ec-0f5ed21f0b4a" providerId="ADAL" clId="{94293865-27CB-4CCE-A49E-CBFD52BCCD90}" dt="2022-05-20T08:47:45.699" v="1071"/>
          <ac:grpSpMkLst>
            <pc:docMk/>
            <pc:sldMk cId="3375752557" sldId="2147375836"/>
            <ac:grpSpMk id="58" creationId="{18CEE2B8-F278-4514-8A15-7A79CF49FCB6}"/>
          </ac:grpSpMkLst>
        </pc:grpChg>
        <pc:grpChg chg="add del mod ord">
          <ac:chgData name="Angela Liebana Medina" userId="33f3cdfd-f8b7-498b-b8ec-0f5ed21f0b4a" providerId="ADAL" clId="{94293865-27CB-4CCE-A49E-CBFD52BCCD90}" dt="2022-05-20T08:56:45.857" v="1401" actId="478"/>
          <ac:grpSpMkLst>
            <pc:docMk/>
            <pc:sldMk cId="3375752557" sldId="2147375836"/>
            <ac:grpSpMk id="64" creationId="{F3391482-B23A-45FE-B1C6-254413AA911B}"/>
          </ac:grpSpMkLst>
        </pc:grpChg>
        <pc:grpChg chg="mod topLvl">
          <ac:chgData name="Angela Liebana Medina" userId="33f3cdfd-f8b7-498b-b8ec-0f5ed21f0b4a" providerId="ADAL" clId="{94293865-27CB-4CCE-A49E-CBFD52BCCD90}" dt="2022-05-20T08:56:45.857" v="1401" actId="478"/>
          <ac:grpSpMkLst>
            <pc:docMk/>
            <pc:sldMk cId="3375752557" sldId="2147375836"/>
            <ac:grpSpMk id="66" creationId="{CFB69E18-5ACA-4A0C-A05A-068784F77625}"/>
          </ac:grpSpMkLst>
        </pc:grpChg>
        <pc:grpChg chg="mod">
          <ac:chgData name="Angela Liebana Medina" userId="33f3cdfd-f8b7-498b-b8ec-0f5ed21f0b4a" providerId="ADAL" clId="{94293865-27CB-4CCE-A49E-CBFD52BCCD90}" dt="2022-05-20T08:48:12.309" v="1080"/>
          <ac:grpSpMkLst>
            <pc:docMk/>
            <pc:sldMk cId="3375752557" sldId="2147375836"/>
            <ac:grpSpMk id="69" creationId="{CB8F2F82-AAFC-41E1-A146-1BDC91046964}"/>
          </ac:grpSpMkLst>
        </pc:grpChg>
        <pc:graphicFrameChg chg="mod">
          <ac:chgData name="Angela Liebana Medina" userId="33f3cdfd-f8b7-498b-b8ec-0f5ed21f0b4a" providerId="ADAL" clId="{94293865-27CB-4CCE-A49E-CBFD52BCCD90}" dt="2022-05-20T08:52:22.103" v="1245"/>
          <ac:graphicFrameMkLst>
            <pc:docMk/>
            <pc:sldMk cId="3375752557" sldId="2147375836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08:53:55.650" v="1376" actId="1038"/>
          <ac:picMkLst>
            <pc:docMk/>
            <pc:sldMk cId="3375752557" sldId="2147375836"/>
            <ac:picMk id="23" creationId="{FB1450C6-98C3-476B-8FFF-E20306A40EC5}"/>
          </ac:picMkLst>
        </pc:picChg>
        <pc:picChg chg="mod">
          <ac:chgData name="Angela Liebana Medina" userId="33f3cdfd-f8b7-498b-b8ec-0f5ed21f0b4a" providerId="ADAL" clId="{94293865-27CB-4CCE-A49E-CBFD52BCCD90}" dt="2022-05-20T08:46:37.483" v="1016" actId="164"/>
          <ac:picMkLst>
            <pc:docMk/>
            <pc:sldMk cId="3375752557" sldId="2147375836"/>
            <ac:picMk id="24" creationId="{0CB6AB91-CC77-4F94-B7D3-FE8EDB912641}"/>
          </ac:picMkLst>
        </pc:picChg>
        <pc:picChg chg="del">
          <ac:chgData name="Angela Liebana Medina" userId="33f3cdfd-f8b7-498b-b8ec-0f5ed21f0b4a" providerId="ADAL" clId="{94293865-27CB-4CCE-A49E-CBFD52BCCD90}" dt="2022-05-20T08:48:03.842" v="1078" actId="478"/>
          <ac:picMkLst>
            <pc:docMk/>
            <pc:sldMk cId="3375752557" sldId="2147375836"/>
            <ac:picMk id="29" creationId="{6E3029CA-ABAD-48C1-AA38-BA0C70DA8228}"/>
          </ac:picMkLst>
        </pc:picChg>
        <pc:picChg chg="del">
          <ac:chgData name="Angela Liebana Medina" userId="33f3cdfd-f8b7-498b-b8ec-0f5ed21f0b4a" providerId="ADAL" clId="{94293865-27CB-4CCE-A49E-CBFD52BCCD90}" dt="2022-05-20T08:48:00.402" v="1076" actId="478"/>
          <ac:picMkLst>
            <pc:docMk/>
            <pc:sldMk cId="3375752557" sldId="2147375836"/>
            <ac:picMk id="34" creationId="{7BCD6833-7173-4824-8733-BB318685C011}"/>
          </ac:picMkLst>
        </pc:picChg>
        <pc:picChg chg="mod">
          <ac:chgData name="Angela Liebana Medina" userId="33f3cdfd-f8b7-498b-b8ec-0f5ed21f0b4a" providerId="ADAL" clId="{94293865-27CB-4CCE-A49E-CBFD52BCCD90}" dt="2022-05-20T08:47:08.600" v="1048"/>
          <ac:picMkLst>
            <pc:docMk/>
            <pc:sldMk cId="3375752557" sldId="2147375836"/>
            <ac:picMk id="47" creationId="{865B1642-F12A-4D90-8FAB-874CA362F2E1}"/>
          </ac:picMkLst>
        </pc:picChg>
        <pc:picChg chg="mod">
          <ac:chgData name="Angela Liebana Medina" userId="33f3cdfd-f8b7-498b-b8ec-0f5ed21f0b4a" providerId="ADAL" clId="{94293865-27CB-4CCE-A49E-CBFD52BCCD90}" dt="2022-05-20T08:47:08.600" v="1048"/>
          <ac:picMkLst>
            <pc:docMk/>
            <pc:sldMk cId="3375752557" sldId="2147375836"/>
            <ac:picMk id="51" creationId="{0FFD814F-8517-433C-9AB0-FFA9E680A20C}"/>
          </ac:picMkLst>
        </pc:picChg>
        <pc:picChg chg="mod">
          <ac:chgData name="Angela Liebana Medina" userId="33f3cdfd-f8b7-498b-b8ec-0f5ed21f0b4a" providerId="ADAL" clId="{94293865-27CB-4CCE-A49E-CBFD52BCCD90}" dt="2022-05-20T08:47:45.699" v="1071"/>
          <ac:picMkLst>
            <pc:docMk/>
            <pc:sldMk cId="3375752557" sldId="2147375836"/>
            <ac:picMk id="57" creationId="{8CB7DFDC-E98D-4062-AF58-E22D864FA80F}"/>
          </ac:picMkLst>
        </pc:picChg>
        <pc:picChg chg="mod">
          <ac:chgData name="Angela Liebana Medina" userId="33f3cdfd-f8b7-498b-b8ec-0f5ed21f0b4a" providerId="ADAL" clId="{94293865-27CB-4CCE-A49E-CBFD52BCCD90}" dt="2022-05-20T08:46:40.910" v="1017" actId="164"/>
          <ac:picMkLst>
            <pc:docMk/>
            <pc:sldMk cId="3375752557" sldId="2147375836"/>
            <ac:picMk id="60" creationId="{50D91C4B-C399-4263-9E97-BB0BBCEACD2F}"/>
          </ac:picMkLst>
        </pc:picChg>
        <pc:picChg chg="mod">
          <ac:chgData name="Angela Liebana Medina" userId="33f3cdfd-f8b7-498b-b8ec-0f5ed21f0b4a" providerId="ADAL" clId="{94293865-27CB-4CCE-A49E-CBFD52BCCD90}" dt="2022-05-20T08:47:45.699" v="1071"/>
          <ac:picMkLst>
            <pc:docMk/>
            <pc:sldMk cId="3375752557" sldId="2147375836"/>
            <ac:picMk id="62" creationId="{DB16CC54-739A-4F54-A00E-17B2DAE559DE}"/>
          </ac:picMkLst>
        </pc:picChg>
        <pc:picChg chg="mod">
          <ac:chgData name="Angela Liebana Medina" userId="33f3cdfd-f8b7-498b-b8ec-0f5ed21f0b4a" providerId="ADAL" clId="{94293865-27CB-4CCE-A49E-CBFD52BCCD90}" dt="2022-05-20T08:48:12.309" v="1080"/>
          <ac:picMkLst>
            <pc:docMk/>
            <pc:sldMk cId="3375752557" sldId="2147375836"/>
            <ac:picMk id="68" creationId="{03A5B23B-4CB3-4C3A-8194-002959EB12ED}"/>
          </ac:picMkLst>
        </pc:picChg>
        <pc:picChg chg="mod">
          <ac:chgData name="Angela Liebana Medina" userId="33f3cdfd-f8b7-498b-b8ec-0f5ed21f0b4a" providerId="ADAL" clId="{94293865-27CB-4CCE-A49E-CBFD52BCCD90}" dt="2022-05-20T08:48:12.309" v="1080"/>
          <ac:picMkLst>
            <pc:docMk/>
            <pc:sldMk cId="3375752557" sldId="2147375836"/>
            <ac:picMk id="72" creationId="{53BED147-9A35-4EF3-B42F-6BAAD139C376}"/>
          </ac:picMkLst>
        </pc:picChg>
        <pc:cxnChg chg="del mod">
          <ac:chgData name="Angela Liebana Medina" userId="33f3cdfd-f8b7-498b-b8ec-0f5ed21f0b4a" providerId="ADAL" clId="{94293865-27CB-4CCE-A49E-CBFD52BCCD90}" dt="2022-05-20T08:51:03.085" v="1111" actId="478"/>
          <ac:cxnSpMkLst>
            <pc:docMk/>
            <pc:sldMk cId="3375752557" sldId="2147375836"/>
            <ac:cxnSpMk id="6" creationId="{00000000-0000-0000-0000-000000000000}"/>
          </ac:cxnSpMkLst>
        </pc:cxnChg>
        <pc:cxnChg chg="mod ord">
          <ac:chgData name="Angela Liebana Medina" userId="33f3cdfd-f8b7-498b-b8ec-0f5ed21f0b4a" providerId="ADAL" clId="{94293865-27CB-4CCE-A49E-CBFD52BCCD90}" dt="2022-05-20T08:53:08.862" v="1340" actId="1036"/>
          <ac:cxnSpMkLst>
            <pc:docMk/>
            <pc:sldMk cId="3375752557" sldId="2147375836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8:53:55.650" v="1376" actId="1038"/>
          <ac:cxnSpMkLst>
            <pc:docMk/>
            <pc:sldMk cId="3375752557" sldId="2147375836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8:53:55.650" v="1376" actId="1038"/>
          <ac:cxnSpMkLst>
            <pc:docMk/>
            <pc:sldMk cId="3375752557" sldId="2147375836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08:52:22.077" v="1243"/>
          <ac:cxnSpMkLst>
            <pc:docMk/>
            <pc:sldMk cId="3375752557" sldId="2147375836"/>
            <ac:cxnSpMk id="48" creationId="{CA4A3689-DBE2-40CF-B5F3-2F5A7EF17177}"/>
          </ac:cxnSpMkLst>
        </pc:cxnChg>
        <pc:cxnChg chg="add mod ord">
          <ac:chgData name="Angela Liebana Medina" userId="33f3cdfd-f8b7-498b-b8ec-0f5ed21f0b4a" providerId="ADAL" clId="{94293865-27CB-4CCE-A49E-CBFD52BCCD90}" dt="2022-05-20T08:54:14.922" v="1377" actId="14100"/>
          <ac:cxnSpMkLst>
            <pc:docMk/>
            <pc:sldMk cId="3375752557" sldId="2147375836"/>
            <ac:cxnSpMk id="73" creationId="{69F7AC2F-397C-4C59-9A84-35FFC37B8D77}"/>
          </ac:cxnSpMkLst>
        </pc:cxnChg>
      </pc:sldChg>
      <pc:sldChg chg="addSp delSp modSp add mod">
        <pc:chgData name="Angela Liebana Medina" userId="33f3cdfd-f8b7-498b-b8ec-0f5ed21f0b4a" providerId="ADAL" clId="{94293865-27CB-4CCE-A49E-CBFD52BCCD90}" dt="2022-05-20T09:38:52.521" v="1681" actId="14100"/>
        <pc:sldMkLst>
          <pc:docMk/>
          <pc:sldMk cId="2703615469" sldId="2147375837"/>
        </pc:sldMkLst>
        <pc:spChg chg="mod ord">
          <ac:chgData name="Angela Liebana Medina" userId="33f3cdfd-f8b7-498b-b8ec-0f5ed21f0b4a" providerId="ADAL" clId="{94293865-27CB-4CCE-A49E-CBFD52BCCD90}" dt="2022-05-20T09:07:30.142" v="1616"/>
          <ac:spMkLst>
            <pc:docMk/>
            <pc:sldMk cId="2703615469" sldId="2147375837"/>
            <ac:spMk id="4" creationId="{444E28E4-126B-4513-8568-8C2A86FD0469}"/>
          </ac:spMkLst>
        </pc:spChg>
        <pc:spChg chg="add del mod modVis">
          <ac:chgData name="Angela Liebana Medina" userId="33f3cdfd-f8b7-498b-b8ec-0f5ed21f0b4a" providerId="ADAL" clId="{94293865-27CB-4CCE-A49E-CBFD52BCCD90}" dt="2022-05-20T09:07:30.152" v="1643"/>
          <ac:spMkLst>
            <pc:docMk/>
            <pc:sldMk cId="2703615469" sldId="2147375837"/>
            <ac:spMk id="7" creationId="{41178DA9-C969-49D2-B1EA-C49078806C05}"/>
          </ac:spMkLst>
        </pc:spChg>
        <pc:spChg chg="mod ord">
          <ac:chgData name="Angela Liebana Medina" userId="33f3cdfd-f8b7-498b-b8ec-0f5ed21f0b4a" providerId="ADAL" clId="{94293865-27CB-4CCE-A49E-CBFD52BCCD90}" dt="2022-05-20T09:07:30.143" v="1618"/>
          <ac:spMkLst>
            <pc:docMk/>
            <pc:sldMk cId="2703615469" sldId="2147375837"/>
            <ac:spMk id="8" creationId="{EF111281-EBC1-45F5-A61A-127302E518D7}"/>
          </ac:spMkLst>
        </pc:spChg>
        <pc:spChg chg="del">
          <ac:chgData name="Angela Liebana Medina" userId="33f3cdfd-f8b7-498b-b8ec-0f5ed21f0b4a" providerId="ADAL" clId="{94293865-27CB-4CCE-A49E-CBFD52BCCD90}" dt="2022-05-20T09:01:33.231" v="1472" actId="478"/>
          <ac:spMkLst>
            <pc:docMk/>
            <pc:sldMk cId="2703615469" sldId="2147375837"/>
            <ac:spMk id="11" creationId="{8647B9F2-4832-4290-BC57-2389AD8FD811}"/>
          </ac:spMkLst>
        </pc:spChg>
        <pc:spChg chg="del">
          <ac:chgData name="Angela Liebana Medina" userId="33f3cdfd-f8b7-498b-b8ec-0f5ed21f0b4a" providerId="ADAL" clId="{94293865-27CB-4CCE-A49E-CBFD52BCCD90}" dt="2022-05-20T09:01:33.913" v="1473" actId="478"/>
          <ac:spMkLst>
            <pc:docMk/>
            <pc:sldMk cId="2703615469" sldId="2147375837"/>
            <ac:spMk id="13" creationId="{E6AB0E9E-A8F4-4DC6-A4FB-B65D40250A2A}"/>
          </ac:spMkLst>
        </pc:spChg>
        <pc:spChg chg="mod">
          <ac:chgData name="Angela Liebana Medina" userId="33f3cdfd-f8b7-498b-b8ec-0f5ed21f0b4a" providerId="ADAL" clId="{94293865-27CB-4CCE-A49E-CBFD52BCCD90}" dt="2022-05-20T09:36:03.652" v="1677" actId="1076"/>
          <ac:spMkLst>
            <pc:docMk/>
            <pc:sldMk cId="2703615469" sldId="2147375837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36:03.652" v="1677" actId="1076"/>
          <ac:spMkLst>
            <pc:docMk/>
            <pc:sldMk cId="2703615469" sldId="2147375837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36:03.652" v="1677" actId="1076"/>
          <ac:spMkLst>
            <pc:docMk/>
            <pc:sldMk cId="2703615469" sldId="2147375837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36:03.652" v="1677" actId="1076"/>
          <ac:spMkLst>
            <pc:docMk/>
            <pc:sldMk cId="2703615469" sldId="2147375837"/>
            <ac:spMk id="20" creationId="{00000000-0000-0000-0000-000000000000}"/>
          </ac:spMkLst>
        </pc:spChg>
        <pc:spChg chg="mod ord">
          <ac:chgData name="Angela Liebana Medina" userId="33f3cdfd-f8b7-498b-b8ec-0f5ed21f0b4a" providerId="ADAL" clId="{94293865-27CB-4CCE-A49E-CBFD52BCCD90}" dt="2022-05-20T09:07:30.146" v="1632"/>
          <ac:spMkLst>
            <pc:docMk/>
            <pc:sldMk cId="2703615469" sldId="2147375837"/>
            <ac:spMk id="33" creationId="{AC5F5B59-5E67-48B4-A99A-3F4E00B8539C}"/>
          </ac:spMkLst>
        </pc:spChg>
        <pc:spChg chg="mod ord">
          <ac:chgData name="Angela Liebana Medina" userId="33f3cdfd-f8b7-498b-b8ec-0f5ed21f0b4a" providerId="ADAL" clId="{94293865-27CB-4CCE-A49E-CBFD52BCCD90}" dt="2022-05-20T09:07:30.144" v="1622"/>
          <ac:spMkLst>
            <pc:docMk/>
            <pc:sldMk cId="2703615469" sldId="2147375837"/>
            <ac:spMk id="39" creationId="{D022CD94-B6A3-40C7-940A-88A504441EE5}"/>
          </ac:spMkLst>
        </pc:spChg>
        <pc:spChg chg="add mod">
          <ac:chgData name="Angela Liebana Medina" userId="33f3cdfd-f8b7-498b-b8ec-0f5ed21f0b4a" providerId="ADAL" clId="{94293865-27CB-4CCE-A49E-CBFD52BCCD90}" dt="2022-05-20T09:03:19.002" v="1498" actId="164"/>
          <ac:spMkLst>
            <pc:docMk/>
            <pc:sldMk cId="2703615469" sldId="2147375837"/>
            <ac:spMk id="40" creationId="{0865407F-6427-4793-8B51-D87D5A39CAE4}"/>
          </ac:spMkLst>
        </pc:spChg>
        <pc:spChg chg="mod">
          <ac:chgData name="Angela Liebana Medina" userId="33f3cdfd-f8b7-498b-b8ec-0f5ed21f0b4a" providerId="ADAL" clId="{94293865-27CB-4CCE-A49E-CBFD52BCCD90}" dt="2022-05-20T09:03:34.506" v="1502" actId="20577"/>
          <ac:spMkLst>
            <pc:docMk/>
            <pc:sldMk cId="2703615469" sldId="2147375837"/>
            <ac:spMk id="44" creationId="{484F75DA-37A2-435D-A6CB-8F2EB6097144}"/>
          </ac:spMkLst>
        </pc:spChg>
        <pc:spChg chg="del">
          <ac:chgData name="Angela Liebana Medina" userId="33f3cdfd-f8b7-498b-b8ec-0f5ed21f0b4a" providerId="ADAL" clId="{94293865-27CB-4CCE-A49E-CBFD52BCCD90}" dt="2022-05-20T09:01:37.342" v="1475" actId="478"/>
          <ac:spMkLst>
            <pc:docMk/>
            <pc:sldMk cId="2703615469" sldId="2147375837"/>
            <ac:spMk id="45" creationId="{5F363EE1-1A03-4BE3-8687-6500168B474A}"/>
          </ac:spMkLst>
        </pc:spChg>
        <pc:spChg chg="del">
          <ac:chgData name="Angela Liebana Medina" userId="33f3cdfd-f8b7-498b-b8ec-0f5ed21f0b4a" providerId="ADAL" clId="{94293865-27CB-4CCE-A49E-CBFD52BCCD90}" dt="2022-05-20T09:01:35.457" v="1474" actId="478"/>
          <ac:spMkLst>
            <pc:docMk/>
            <pc:sldMk cId="2703615469" sldId="2147375837"/>
            <ac:spMk id="46" creationId="{1BFCF60B-B91A-4AFB-8FB5-E4E20532209D}"/>
          </ac:spMkLst>
        </pc:spChg>
        <pc:spChg chg="mod">
          <ac:chgData name="Angela Liebana Medina" userId="33f3cdfd-f8b7-498b-b8ec-0f5ed21f0b4a" providerId="ADAL" clId="{94293865-27CB-4CCE-A49E-CBFD52BCCD90}" dt="2022-05-20T09:03:20.666" v="1499"/>
          <ac:spMkLst>
            <pc:docMk/>
            <pc:sldMk cId="2703615469" sldId="2147375837"/>
            <ac:spMk id="47" creationId="{FF9FBE67-958F-4435-B532-24C2FFC7DB1A}"/>
          </ac:spMkLst>
        </pc:spChg>
        <pc:spChg chg="mod">
          <ac:chgData name="Angela Liebana Medina" userId="33f3cdfd-f8b7-498b-b8ec-0f5ed21f0b4a" providerId="ADAL" clId="{94293865-27CB-4CCE-A49E-CBFD52BCCD90}" dt="2022-05-20T09:03:20.666" v="1499"/>
          <ac:spMkLst>
            <pc:docMk/>
            <pc:sldMk cId="2703615469" sldId="2147375837"/>
            <ac:spMk id="51" creationId="{37959DB6-0C44-4120-99AD-0D9F74990C6A}"/>
          </ac:spMkLst>
        </pc:spChg>
        <pc:spChg chg="add mod ord">
          <ac:chgData name="Angela Liebana Medina" userId="33f3cdfd-f8b7-498b-b8ec-0f5ed21f0b4a" providerId="ADAL" clId="{94293865-27CB-4CCE-A49E-CBFD52BCCD90}" dt="2022-05-20T09:07:30.149" v="1638"/>
          <ac:spMkLst>
            <pc:docMk/>
            <pc:sldMk cId="2703615469" sldId="2147375837"/>
            <ac:spMk id="53" creationId="{E14C91CE-9993-4C65-8C72-33DADEF85B28}"/>
          </ac:spMkLst>
        </pc:spChg>
        <pc:spChg chg="add mod ord">
          <ac:chgData name="Angela Liebana Medina" userId="33f3cdfd-f8b7-498b-b8ec-0f5ed21f0b4a" providerId="ADAL" clId="{94293865-27CB-4CCE-A49E-CBFD52BCCD90}" dt="2022-05-20T09:07:30.149" v="1640"/>
          <ac:spMkLst>
            <pc:docMk/>
            <pc:sldMk cId="2703615469" sldId="2147375837"/>
            <ac:spMk id="54" creationId="{E6A6582F-D705-47FC-ABDA-5C1665023F5E}"/>
          </ac:spMkLst>
        </pc:spChg>
        <pc:spChg chg="mod">
          <ac:chgData name="Angela Liebana Medina" userId="33f3cdfd-f8b7-498b-b8ec-0f5ed21f0b4a" providerId="ADAL" clId="{94293865-27CB-4CCE-A49E-CBFD52BCCD90}" dt="2022-05-20T09:38:52.521" v="1681" actId="14100"/>
          <ac:spMkLst>
            <pc:docMk/>
            <pc:sldMk cId="2703615469" sldId="2147375837"/>
            <ac:spMk id="67" creationId="{35A9873B-3972-4077-A047-3036D9A3F019}"/>
          </ac:spMkLst>
        </pc:spChg>
        <pc:spChg chg="mod ord">
          <ac:chgData name="Angela Liebana Medina" userId="33f3cdfd-f8b7-498b-b8ec-0f5ed21f0b4a" providerId="ADAL" clId="{94293865-27CB-4CCE-A49E-CBFD52BCCD90}" dt="2022-05-20T09:07:30.145" v="1628"/>
          <ac:spMkLst>
            <pc:docMk/>
            <pc:sldMk cId="2703615469" sldId="2147375837"/>
            <ac:spMk id="75" creationId="{C1865D26-770B-4EA2-8A44-1D67B0CF78C1}"/>
          </ac:spMkLst>
        </pc:spChg>
        <pc:spChg chg="mod ord">
          <ac:chgData name="Angela Liebana Medina" userId="33f3cdfd-f8b7-498b-b8ec-0f5ed21f0b4a" providerId="ADAL" clId="{94293865-27CB-4CCE-A49E-CBFD52BCCD90}" dt="2022-05-20T09:07:30.146" v="1630"/>
          <ac:spMkLst>
            <pc:docMk/>
            <pc:sldMk cId="2703615469" sldId="2147375837"/>
            <ac:spMk id="76" creationId="{F29AB2D3-43DF-47A0-886F-BBC1362D16F6}"/>
          </ac:spMkLst>
        </pc:spChg>
        <pc:grpChg chg="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2" creationId="{5D736DE2-7694-4004-9DEA-2391CED91C8F}"/>
          </ac:grpSpMkLst>
        </pc:grpChg>
        <pc:grpChg chg="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5" creationId="{D0BCE8B9-055E-49D6-8086-C797AF92AF04}"/>
          </ac:grpSpMkLst>
        </pc:grpChg>
        <pc:grpChg chg="add mod ord">
          <ac:chgData name="Angela Liebana Medina" userId="33f3cdfd-f8b7-498b-b8ec-0f5ed21f0b4a" providerId="ADAL" clId="{94293865-27CB-4CCE-A49E-CBFD52BCCD90}" dt="2022-05-20T09:07:30.147" v="1634"/>
          <ac:grpSpMkLst>
            <pc:docMk/>
            <pc:sldMk cId="2703615469" sldId="2147375837"/>
            <ac:grpSpMk id="6" creationId="{B16A46AF-CB21-4106-8390-E23FA2284054}"/>
          </ac:grpSpMkLst>
        </pc:grpChg>
        <pc:grpChg chg="add 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9" creationId="{E48F94B9-2386-48E6-9E25-C11A765FF7B5}"/>
          </ac:grpSpMkLst>
        </pc:grpChg>
        <pc:grpChg chg="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12" creationId="{C5C8D1B5-4578-46EB-BB8D-D53A30164640}"/>
          </ac:grpSpMkLst>
        </pc:grpChg>
        <pc:grpChg chg="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14" creationId="{FBEE5CF9-2D36-4264-8FA2-D53DF3A6AB2B}"/>
          </ac:grpSpMkLst>
        </pc:grpChg>
        <pc:grpChg chg="mod">
          <ac:chgData name="Angela Liebana Medina" userId="33f3cdfd-f8b7-498b-b8ec-0f5ed21f0b4a" providerId="ADAL" clId="{94293865-27CB-4CCE-A49E-CBFD52BCCD90}" dt="2022-05-20T09:36:03.652" v="1677" actId="1076"/>
          <ac:grpSpMkLst>
            <pc:docMk/>
            <pc:sldMk cId="2703615469" sldId="2147375837"/>
            <ac:grpSpMk id="15" creationId="{6437F1D1-D2D7-4954-B3B5-955D942F93B7}"/>
          </ac:grpSpMkLst>
        </pc:grpChg>
        <pc:grpChg chg="del">
          <ac:chgData name="Angela Liebana Medina" userId="33f3cdfd-f8b7-498b-b8ec-0f5ed21f0b4a" providerId="ADAL" clId="{94293865-27CB-4CCE-A49E-CBFD52BCCD90}" dt="2022-05-20T09:03:14.736" v="1497" actId="478"/>
          <ac:grpSpMkLst>
            <pc:docMk/>
            <pc:sldMk cId="2703615469" sldId="2147375837"/>
            <ac:grpSpMk id="25" creationId="{F78CA825-E85D-43D1-9170-B768E6B66247}"/>
          </ac:grpSpMkLst>
        </pc:grpChg>
        <pc:grpChg chg="add mod ord">
          <ac:chgData name="Angela Liebana Medina" userId="33f3cdfd-f8b7-498b-b8ec-0f5ed21f0b4a" providerId="ADAL" clId="{94293865-27CB-4CCE-A49E-CBFD52BCCD90}" dt="2022-05-20T09:08:29.086" v="1668" actId="1037"/>
          <ac:grpSpMkLst>
            <pc:docMk/>
            <pc:sldMk cId="2703615469" sldId="2147375837"/>
            <ac:grpSpMk id="42" creationId="{80AD74FA-4C31-4E49-8295-29401366680B}"/>
          </ac:grpSpMkLst>
        </pc:grpChg>
        <pc:grpChg chg="mod">
          <ac:chgData name="Angela Liebana Medina" userId="33f3cdfd-f8b7-498b-b8ec-0f5ed21f0b4a" providerId="ADAL" clId="{94293865-27CB-4CCE-A49E-CBFD52BCCD90}" dt="2022-05-20T09:03:20.666" v="1499"/>
          <ac:grpSpMkLst>
            <pc:docMk/>
            <pc:sldMk cId="2703615469" sldId="2147375837"/>
            <ac:grpSpMk id="43" creationId="{57C6BB1B-219E-4046-AAA5-53F8A5651F70}"/>
          </ac:grpSpMkLst>
        </pc:grpChg>
        <pc:grpChg chg="mod">
          <ac:chgData name="Angela Liebana Medina" userId="33f3cdfd-f8b7-498b-b8ec-0f5ed21f0b4a" providerId="ADAL" clId="{94293865-27CB-4CCE-A49E-CBFD52BCCD90}" dt="2022-05-20T09:03:20.666" v="1499"/>
          <ac:grpSpMkLst>
            <pc:docMk/>
            <pc:sldMk cId="2703615469" sldId="2147375837"/>
            <ac:grpSpMk id="50" creationId="{2724DFDA-4CCD-4E09-A3C7-D71555BBF820}"/>
          </ac:grpSpMkLst>
        </pc:grpChg>
        <pc:grpChg chg="mod">
          <ac:chgData name="Angela Liebana Medina" userId="33f3cdfd-f8b7-498b-b8ec-0f5ed21f0b4a" providerId="ADAL" clId="{94293865-27CB-4CCE-A49E-CBFD52BCCD90}" dt="2022-05-20T09:03:19.002" v="1498" actId="164"/>
          <ac:grpSpMkLst>
            <pc:docMk/>
            <pc:sldMk cId="2703615469" sldId="2147375837"/>
            <ac:grpSpMk id="66" creationId="{CFB69E18-5ACA-4A0C-A05A-068784F77625}"/>
          </ac:grpSpMkLst>
        </pc:grpChg>
        <pc:graphicFrameChg chg="mod">
          <ac:chgData name="Angela Liebana Medina" userId="33f3cdfd-f8b7-498b-b8ec-0f5ed21f0b4a" providerId="ADAL" clId="{94293865-27CB-4CCE-A49E-CBFD52BCCD90}" dt="2022-05-20T09:07:30.158" v="1645"/>
          <ac:graphicFrameMkLst>
            <pc:docMk/>
            <pc:sldMk cId="2703615469" sldId="2147375837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09:36:03.652" v="1677" actId="1076"/>
          <ac:picMkLst>
            <pc:docMk/>
            <pc:sldMk cId="2703615469" sldId="2147375837"/>
            <ac:picMk id="23" creationId="{FB1450C6-98C3-476B-8FFF-E20306A40EC5}"/>
          </ac:picMkLst>
        </pc:picChg>
        <pc:picChg chg="mod">
          <ac:chgData name="Angela Liebana Medina" userId="33f3cdfd-f8b7-498b-b8ec-0f5ed21f0b4a" providerId="ADAL" clId="{94293865-27CB-4CCE-A49E-CBFD52BCCD90}" dt="2022-05-20T09:03:20.666" v="1499"/>
          <ac:picMkLst>
            <pc:docMk/>
            <pc:sldMk cId="2703615469" sldId="2147375837"/>
            <ac:picMk id="49" creationId="{3F75461F-7B84-4393-834B-1588F66AE0A3}"/>
          </ac:picMkLst>
        </pc:picChg>
        <pc:picChg chg="mod">
          <ac:chgData name="Angela Liebana Medina" userId="33f3cdfd-f8b7-498b-b8ec-0f5ed21f0b4a" providerId="ADAL" clId="{94293865-27CB-4CCE-A49E-CBFD52BCCD90}" dt="2022-05-20T09:03:20.666" v="1499"/>
          <ac:picMkLst>
            <pc:docMk/>
            <pc:sldMk cId="2703615469" sldId="2147375837"/>
            <ac:picMk id="52" creationId="{90005576-2C04-496C-A77E-09561F6FD159}"/>
          </ac:picMkLst>
        </pc:picChg>
        <pc:cxnChg chg="mod ord">
          <ac:chgData name="Angela Liebana Medina" userId="33f3cdfd-f8b7-498b-b8ec-0f5ed21f0b4a" providerId="ADAL" clId="{94293865-27CB-4CCE-A49E-CBFD52BCCD90}" dt="2022-05-20T09:36:03.652" v="1677" actId="1076"/>
          <ac:cxnSpMkLst>
            <pc:docMk/>
            <pc:sldMk cId="2703615469" sldId="2147375837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9:36:03.652" v="1677" actId="1076"/>
          <ac:cxnSpMkLst>
            <pc:docMk/>
            <pc:sldMk cId="2703615469" sldId="2147375837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9:36:03.652" v="1677" actId="1076"/>
          <ac:cxnSpMkLst>
            <pc:docMk/>
            <pc:sldMk cId="2703615469" sldId="2147375837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09:07:30.144" v="1624"/>
          <ac:cxnSpMkLst>
            <pc:docMk/>
            <pc:sldMk cId="2703615469" sldId="2147375837"/>
            <ac:cxnSpMk id="48" creationId="{CA4A3689-DBE2-40CF-B5F3-2F5A7EF17177}"/>
          </ac:cxnSpMkLst>
        </pc:cxnChg>
        <pc:cxnChg chg="mod ord">
          <ac:chgData name="Angela Liebana Medina" userId="33f3cdfd-f8b7-498b-b8ec-0f5ed21f0b4a" providerId="ADAL" clId="{94293865-27CB-4CCE-A49E-CBFD52BCCD90}" dt="2022-05-20T09:36:03.652" v="1677" actId="1076"/>
          <ac:cxnSpMkLst>
            <pc:docMk/>
            <pc:sldMk cId="2703615469" sldId="2147375837"/>
            <ac:cxnSpMk id="73" creationId="{69F7AC2F-397C-4C59-9A84-35FFC37B8D77}"/>
          </ac:cxnSpMkLst>
        </pc:cxnChg>
      </pc:sldChg>
      <pc:sldChg chg="addSp delSp del mod">
        <pc:chgData name="Angela Liebana Medina" userId="33f3cdfd-f8b7-498b-b8ec-0f5ed21f0b4a" providerId="ADAL" clId="{94293865-27CB-4CCE-A49E-CBFD52BCCD90}" dt="2022-05-20T10:26:55.760" v="2270" actId="47"/>
        <pc:sldMkLst>
          <pc:docMk/>
          <pc:sldMk cId="231514485" sldId="2147375838"/>
        </pc:sldMkLst>
        <pc:spChg chg="add del">
          <ac:chgData name="Angela Liebana Medina" userId="33f3cdfd-f8b7-498b-b8ec-0f5ed21f0b4a" providerId="ADAL" clId="{94293865-27CB-4CCE-A49E-CBFD52BCCD90}" dt="2022-05-20T10:00:22.025" v="1739" actId="21"/>
          <ac:spMkLst>
            <pc:docMk/>
            <pc:sldMk cId="231514485" sldId="2147375838"/>
            <ac:spMk id="62" creationId="{43466EB9-E8D7-4D80-AF4F-172F99D6F9E5}"/>
          </ac:spMkLst>
        </pc:spChg>
      </pc:sldChg>
      <pc:sldChg chg="addSp delSp modSp add del mod">
        <pc:chgData name="Angela Liebana Medina" userId="33f3cdfd-f8b7-498b-b8ec-0f5ed21f0b4a" providerId="ADAL" clId="{94293865-27CB-4CCE-A49E-CBFD52BCCD90}" dt="2022-05-20T09:09:45.121" v="1675" actId="47"/>
        <pc:sldMkLst>
          <pc:docMk/>
          <pc:sldMk cId="1218654385" sldId="2147375838"/>
        </pc:sldMkLst>
        <pc:spChg chg="mod">
          <ac:chgData name="Angela Liebana Medina" userId="33f3cdfd-f8b7-498b-b8ec-0f5ed21f0b4a" providerId="ADAL" clId="{94293865-27CB-4CCE-A49E-CBFD52BCCD90}" dt="2022-05-20T09:09:13.513" v="1670" actId="1076"/>
          <ac:spMkLst>
            <pc:docMk/>
            <pc:sldMk cId="1218654385" sldId="2147375838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09:13.513" v="1670" actId="1076"/>
          <ac:spMkLst>
            <pc:docMk/>
            <pc:sldMk cId="1218654385" sldId="2147375838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09:13.513" v="1670" actId="1076"/>
          <ac:spMkLst>
            <pc:docMk/>
            <pc:sldMk cId="1218654385" sldId="2147375838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09:13.513" v="1670" actId="1076"/>
          <ac:spMkLst>
            <pc:docMk/>
            <pc:sldMk cId="1218654385" sldId="2147375838"/>
            <ac:spMk id="20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09:09:43.187" v="1674" actId="1076"/>
          <ac:spMkLst>
            <pc:docMk/>
            <pc:sldMk cId="1218654385" sldId="2147375838"/>
            <ac:spMk id="60" creationId="{FE7EA867-E2F4-4BF2-BF5B-397FA587BED1}"/>
          </ac:spMkLst>
        </pc:spChg>
        <pc:spChg chg="mod">
          <ac:chgData name="Angela Liebana Medina" userId="33f3cdfd-f8b7-498b-b8ec-0f5ed21f0b4a" providerId="ADAL" clId="{94293865-27CB-4CCE-A49E-CBFD52BCCD90}" dt="2022-05-20T09:09:43.187" v="1674" actId="1076"/>
          <ac:spMkLst>
            <pc:docMk/>
            <pc:sldMk cId="1218654385" sldId="2147375838"/>
            <ac:spMk id="62" creationId="{BE1C231B-296C-4CB3-99DE-D1AFAAAA2B71}"/>
          </ac:spMkLst>
        </pc:spChg>
        <pc:spChg chg="mod">
          <ac:chgData name="Angela Liebana Medina" userId="33f3cdfd-f8b7-498b-b8ec-0f5ed21f0b4a" providerId="ADAL" clId="{94293865-27CB-4CCE-A49E-CBFD52BCCD90}" dt="2022-05-20T09:09:43.187" v="1674" actId="1076"/>
          <ac:spMkLst>
            <pc:docMk/>
            <pc:sldMk cId="1218654385" sldId="2147375838"/>
            <ac:spMk id="64" creationId="{570D87AD-6DFD-4969-97C0-9AA603A0FF55}"/>
          </ac:spMkLst>
        </pc:spChg>
        <pc:spChg chg="mod">
          <ac:chgData name="Angela Liebana Medina" userId="33f3cdfd-f8b7-498b-b8ec-0f5ed21f0b4a" providerId="ADAL" clId="{94293865-27CB-4CCE-A49E-CBFD52BCCD90}" dt="2022-05-20T09:09:43.187" v="1674" actId="1076"/>
          <ac:spMkLst>
            <pc:docMk/>
            <pc:sldMk cId="1218654385" sldId="2147375838"/>
            <ac:spMk id="71" creationId="{EA970593-8CB5-423D-8BBB-ED8F7784E68F}"/>
          </ac:spMkLst>
        </pc:spChg>
        <pc:grpChg chg="mod">
          <ac:chgData name="Angela Liebana Medina" userId="33f3cdfd-f8b7-498b-b8ec-0f5ed21f0b4a" providerId="ADAL" clId="{94293865-27CB-4CCE-A49E-CBFD52BCCD90}" dt="2022-05-20T09:09:13.513" v="1670" actId="1076"/>
          <ac:grpSpMkLst>
            <pc:docMk/>
            <pc:sldMk cId="1218654385" sldId="2147375838"/>
            <ac:grpSpMk id="2" creationId="{5D736DE2-7694-4004-9DEA-2391CED91C8F}"/>
          </ac:grpSpMkLst>
        </pc:grpChg>
        <pc:grpChg chg="mod">
          <ac:chgData name="Angela Liebana Medina" userId="33f3cdfd-f8b7-498b-b8ec-0f5ed21f0b4a" providerId="ADAL" clId="{94293865-27CB-4CCE-A49E-CBFD52BCCD90}" dt="2022-05-20T09:09:13.513" v="1670" actId="1076"/>
          <ac:grpSpMkLst>
            <pc:docMk/>
            <pc:sldMk cId="1218654385" sldId="2147375838"/>
            <ac:grpSpMk id="5" creationId="{D0BCE8B9-055E-49D6-8086-C797AF92AF04}"/>
          </ac:grpSpMkLst>
        </pc:grpChg>
        <pc:grpChg chg="mod">
          <ac:chgData name="Angela Liebana Medina" userId="33f3cdfd-f8b7-498b-b8ec-0f5ed21f0b4a" providerId="ADAL" clId="{94293865-27CB-4CCE-A49E-CBFD52BCCD90}" dt="2022-05-20T09:09:23.580" v="1672" actId="1076"/>
          <ac:grpSpMkLst>
            <pc:docMk/>
            <pc:sldMk cId="1218654385" sldId="2147375838"/>
            <ac:grpSpMk id="6" creationId="{B16A46AF-CB21-4106-8390-E23FA2284054}"/>
          </ac:grpSpMkLst>
        </pc:grpChg>
        <pc:grpChg chg="del mod">
          <ac:chgData name="Angela Liebana Medina" userId="33f3cdfd-f8b7-498b-b8ec-0f5ed21f0b4a" providerId="ADAL" clId="{94293865-27CB-4CCE-A49E-CBFD52BCCD90}" dt="2022-05-20T09:09:14.263" v="1671" actId="478"/>
          <ac:grpSpMkLst>
            <pc:docMk/>
            <pc:sldMk cId="1218654385" sldId="2147375838"/>
            <ac:grpSpMk id="9" creationId="{E48F94B9-2386-48E6-9E25-C11A765FF7B5}"/>
          </ac:grpSpMkLst>
        </pc:grpChg>
        <pc:grpChg chg="mod">
          <ac:chgData name="Angela Liebana Medina" userId="33f3cdfd-f8b7-498b-b8ec-0f5ed21f0b4a" providerId="ADAL" clId="{94293865-27CB-4CCE-A49E-CBFD52BCCD90}" dt="2022-05-20T09:09:13.513" v="1670" actId="1076"/>
          <ac:grpSpMkLst>
            <pc:docMk/>
            <pc:sldMk cId="1218654385" sldId="2147375838"/>
            <ac:grpSpMk id="12" creationId="{C5C8D1B5-4578-46EB-BB8D-D53A30164640}"/>
          </ac:grpSpMkLst>
        </pc:grpChg>
        <pc:grpChg chg="mod">
          <ac:chgData name="Angela Liebana Medina" userId="33f3cdfd-f8b7-498b-b8ec-0f5ed21f0b4a" providerId="ADAL" clId="{94293865-27CB-4CCE-A49E-CBFD52BCCD90}" dt="2022-05-20T09:09:13.513" v="1670" actId="1076"/>
          <ac:grpSpMkLst>
            <pc:docMk/>
            <pc:sldMk cId="1218654385" sldId="2147375838"/>
            <ac:grpSpMk id="14" creationId="{FBEE5CF9-2D36-4264-8FA2-D53DF3A6AB2B}"/>
          </ac:grpSpMkLst>
        </pc:grpChg>
        <pc:grpChg chg="mod">
          <ac:chgData name="Angela Liebana Medina" userId="33f3cdfd-f8b7-498b-b8ec-0f5ed21f0b4a" providerId="ADAL" clId="{94293865-27CB-4CCE-A49E-CBFD52BCCD90}" dt="2022-05-20T09:09:13.513" v="1670" actId="1076"/>
          <ac:grpSpMkLst>
            <pc:docMk/>
            <pc:sldMk cId="1218654385" sldId="2147375838"/>
            <ac:grpSpMk id="15" creationId="{6437F1D1-D2D7-4954-B3B5-955D942F93B7}"/>
          </ac:grpSpMkLst>
        </pc:grpChg>
        <pc:grpChg chg="add 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45" creationId="{9BF9716D-6943-4F59-A6B3-4F4B3D4EF4DC}"/>
          </ac:grpSpMkLst>
        </pc:grpChg>
        <pc:grpChg chg="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56" creationId="{8862B161-4782-44FB-A255-5591DE276D86}"/>
          </ac:grpSpMkLst>
        </pc:grpChg>
        <pc:grpChg chg="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59" creationId="{0BCC2D65-5841-4F2C-9D92-088EBB64F828}"/>
          </ac:grpSpMkLst>
        </pc:grpChg>
        <pc:grpChg chg="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61" creationId="{03F41763-1F2A-4D85-800E-F25AA62CE23F}"/>
          </ac:grpSpMkLst>
        </pc:grpChg>
        <pc:grpChg chg="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63" creationId="{CD1C62EE-CF9E-4326-B8B9-F6916443369E}"/>
          </ac:grpSpMkLst>
        </pc:grpChg>
        <pc:grpChg chg="mod">
          <ac:chgData name="Angela Liebana Medina" userId="33f3cdfd-f8b7-498b-b8ec-0f5ed21f0b4a" providerId="ADAL" clId="{94293865-27CB-4CCE-A49E-CBFD52BCCD90}" dt="2022-05-20T09:09:43.187" v="1674" actId="1076"/>
          <ac:grpSpMkLst>
            <pc:docMk/>
            <pc:sldMk cId="1218654385" sldId="2147375838"/>
            <ac:grpSpMk id="65" creationId="{1CAEC697-BD33-47BE-BB83-5EB17FA70E14}"/>
          </ac:grpSpMkLst>
        </pc:grpChg>
        <pc:picChg chg="mod">
          <ac:chgData name="Angela Liebana Medina" userId="33f3cdfd-f8b7-498b-b8ec-0f5ed21f0b4a" providerId="ADAL" clId="{94293865-27CB-4CCE-A49E-CBFD52BCCD90}" dt="2022-05-20T09:09:13.513" v="1670" actId="1076"/>
          <ac:picMkLst>
            <pc:docMk/>
            <pc:sldMk cId="1218654385" sldId="2147375838"/>
            <ac:picMk id="23" creationId="{FB1450C6-98C3-476B-8FFF-E20306A40EC5}"/>
          </ac:picMkLst>
        </pc:picChg>
        <pc:picChg chg="mod">
          <ac:chgData name="Angela Liebana Medina" userId="33f3cdfd-f8b7-498b-b8ec-0f5ed21f0b4a" providerId="ADAL" clId="{94293865-27CB-4CCE-A49E-CBFD52BCCD90}" dt="2022-05-20T09:09:43.187" v="1674" actId="1076"/>
          <ac:picMkLst>
            <pc:docMk/>
            <pc:sldMk cId="1218654385" sldId="2147375838"/>
            <ac:picMk id="74" creationId="{ECBB207D-2941-47EE-B903-8D5B1AAF98F2}"/>
          </ac:picMkLst>
        </pc:picChg>
        <pc:cxnChg chg="mod">
          <ac:chgData name="Angela Liebana Medina" userId="33f3cdfd-f8b7-498b-b8ec-0f5ed21f0b4a" providerId="ADAL" clId="{94293865-27CB-4CCE-A49E-CBFD52BCCD90}" dt="2022-05-20T09:09:13.513" v="1670" actId="1076"/>
          <ac:cxnSpMkLst>
            <pc:docMk/>
            <pc:sldMk cId="1218654385" sldId="2147375838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9:09:13.513" v="1670" actId="1076"/>
          <ac:cxnSpMkLst>
            <pc:docMk/>
            <pc:sldMk cId="1218654385" sldId="2147375838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09:09:13.513" v="1670" actId="1076"/>
          <ac:cxnSpMkLst>
            <pc:docMk/>
            <pc:sldMk cId="1218654385" sldId="2147375838"/>
            <ac:cxnSpMk id="27" creationId="{E1ADCD76-C12D-4FFB-9565-9F8A357B935D}"/>
          </ac:cxnSpMkLst>
        </pc:cxnChg>
        <pc:cxnChg chg="mod">
          <ac:chgData name="Angela Liebana Medina" userId="33f3cdfd-f8b7-498b-b8ec-0f5ed21f0b4a" providerId="ADAL" clId="{94293865-27CB-4CCE-A49E-CBFD52BCCD90}" dt="2022-05-20T09:09:43.187" v="1674" actId="1076"/>
          <ac:cxnSpMkLst>
            <pc:docMk/>
            <pc:sldMk cId="1218654385" sldId="2147375838"/>
            <ac:cxnSpMk id="46" creationId="{0FBA87EF-992E-4EBA-9993-F5B890497184}"/>
          </ac:cxnSpMkLst>
        </pc:cxnChg>
        <pc:cxnChg chg="mod">
          <ac:chgData name="Angela Liebana Medina" userId="33f3cdfd-f8b7-498b-b8ec-0f5ed21f0b4a" providerId="ADAL" clId="{94293865-27CB-4CCE-A49E-CBFD52BCCD90}" dt="2022-05-20T09:09:43.187" v="1674" actId="1076"/>
          <ac:cxnSpMkLst>
            <pc:docMk/>
            <pc:sldMk cId="1218654385" sldId="2147375838"/>
            <ac:cxnSpMk id="55" creationId="{330AF90D-77A6-4DF9-9D2F-365DFF7EBFC0}"/>
          </ac:cxnSpMkLst>
        </pc:cxnChg>
        <pc:cxnChg chg="mod">
          <ac:chgData name="Angela Liebana Medina" userId="33f3cdfd-f8b7-498b-b8ec-0f5ed21f0b4a" providerId="ADAL" clId="{94293865-27CB-4CCE-A49E-CBFD52BCCD90}" dt="2022-05-20T09:09:43.187" v="1674" actId="1076"/>
          <ac:cxnSpMkLst>
            <pc:docMk/>
            <pc:sldMk cId="1218654385" sldId="2147375838"/>
            <ac:cxnSpMk id="57" creationId="{ABDA9E2F-A4C5-4266-85A4-73D7AF177DE6}"/>
          </ac:cxnSpMkLst>
        </pc:cxnChg>
        <pc:cxnChg chg="mod">
          <ac:chgData name="Angela Liebana Medina" userId="33f3cdfd-f8b7-498b-b8ec-0f5ed21f0b4a" providerId="ADAL" clId="{94293865-27CB-4CCE-A49E-CBFD52BCCD90}" dt="2022-05-20T09:09:43.187" v="1674" actId="1076"/>
          <ac:cxnSpMkLst>
            <pc:docMk/>
            <pc:sldMk cId="1218654385" sldId="2147375838"/>
            <ac:cxnSpMk id="58" creationId="{8BDE0E2B-62BF-48EC-A337-3F5E5D4B4D55}"/>
          </ac:cxnSpMkLst>
        </pc:cxnChg>
        <pc:cxnChg chg="mod">
          <ac:chgData name="Angela Liebana Medina" userId="33f3cdfd-f8b7-498b-b8ec-0f5ed21f0b4a" providerId="ADAL" clId="{94293865-27CB-4CCE-A49E-CBFD52BCCD90}" dt="2022-05-20T09:09:13.513" v="1670" actId="1076"/>
          <ac:cxnSpMkLst>
            <pc:docMk/>
            <pc:sldMk cId="1218654385" sldId="2147375838"/>
            <ac:cxnSpMk id="73" creationId="{69F7AC2F-397C-4C59-9A84-35FFC37B8D77}"/>
          </ac:cxnSpMkLst>
        </pc:cxnChg>
      </pc:sldChg>
      <pc:sldChg chg="addSp delSp modSp add del mod setBg">
        <pc:chgData name="Angela Liebana Medina" userId="33f3cdfd-f8b7-498b-b8ec-0f5ed21f0b4a" providerId="ADAL" clId="{94293865-27CB-4CCE-A49E-CBFD52BCCD90}" dt="2022-05-20T10:32:11.221" v="2427" actId="47"/>
        <pc:sldMkLst>
          <pc:docMk/>
          <pc:sldMk cId="178942994" sldId="2147375839"/>
        </pc:sldMkLst>
        <pc:spChg chg="mod ord">
          <ac:chgData name="Angela Liebana Medina" userId="33f3cdfd-f8b7-498b-b8ec-0f5ed21f0b4a" providerId="ADAL" clId="{94293865-27CB-4CCE-A49E-CBFD52BCCD90}" dt="2022-05-20T10:26:45.559" v="2269" actId="164"/>
          <ac:spMkLst>
            <pc:docMk/>
            <pc:sldMk cId="178942994" sldId="2147375839"/>
            <ac:spMk id="4" creationId="{444E28E4-126B-4513-8568-8C2A86FD0469}"/>
          </ac:spMkLst>
        </pc:spChg>
        <pc:spChg chg="mod ord">
          <ac:chgData name="Angela Liebana Medina" userId="33f3cdfd-f8b7-498b-b8ec-0f5ed21f0b4a" providerId="ADAL" clId="{94293865-27CB-4CCE-A49E-CBFD52BCCD90}" dt="2022-05-20T10:08:43.676" v="1889"/>
          <ac:spMkLst>
            <pc:docMk/>
            <pc:sldMk cId="178942994" sldId="2147375839"/>
            <ac:spMk id="8" creationId="{EF111281-EBC1-45F5-A61A-127302E518D7}"/>
          </ac:spMkLst>
        </pc:spChg>
        <pc:spChg chg="add mod ord">
          <ac:chgData name="Angela Liebana Medina" userId="33f3cdfd-f8b7-498b-b8ec-0f5ed21f0b4a" providerId="ADAL" clId="{94293865-27CB-4CCE-A49E-CBFD52BCCD90}" dt="2022-05-20T10:26:45.559" v="2269" actId="164"/>
          <ac:spMkLst>
            <pc:docMk/>
            <pc:sldMk cId="178942994" sldId="2147375839"/>
            <ac:spMk id="16" creationId="{7AF0D92A-F739-4416-B3C4-85E986E26B17}"/>
          </ac:spMkLst>
        </pc:spChg>
        <pc:spChg chg="mod">
          <ac:chgData name="Angela Liebana Medina" userId="33f3cdfd-f8b7-498b-b8ec-0f5ed21f0b4a" providerId="ADAL" clId="{94293865-27CB-4CCE-A49E-CBFD52BCCD90}" dt="2022-05-20T10:24:42.218" v="2082" actId="1038"/>
          <ac:spMkLst>
            <pc:docMk/>
            <pc:sldMk cId="178942994" sldId="2147375839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24:42.218" v="2082" actId="1038"/>
          <ac:spMkLst>
            <pc:docMk/>
            <pc:sldMk cId="178942994" sldId="2147375839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24:42.218" v="2082" actId="1038"/>
          <ac:spMkLst>
            <pc:docMk/>
            <pc:sldMk cId="178942994" sldId="2147375839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24:42.218" v="2082" actId="1038"/>
          <ac:spMkLst>
            <pc:docMk/>
            <pc:sldMk cId="178942994" sldId="2147375839"/>
            <ac:spMk id="20" creationId="{00000000-0000-0000-0000-000000000000}"/>
          </ac:spMkLst>
        </pc:spChg>
        <pc:spChg chg="add del mod modVis">
          <ac:chgData name="Angela Liebana Medina" userId="33f3cdfd-f8b7-498b-b8ec-0f5ed21f0b4a" providerId="ADAL" clId="{94293865-27CB-4CCE-A49E-CBFD52BCCD90}" dt="2022-05-20T10:08:43.693" v="1928"/>
          <ac:spMkLst>
            <pc:docMk/>
            <pc:sldMk cId="178942994" sldId="2147375839"/>
            <ac:spMk id="24" creationId="{F383F1D5-9B5B-48A9-8914-5119960C307E}"/>
          </ac:spMkLst>
        </pc:spChg>
        <pc:spChg chg="add del mod modVis">
          <ac:chgData name="Angela Liebana Medina" userId="33f3cdfd-f8b7-498b-b8ec-0f5ed21f0b4a" providerId="ADAL" clId="{94293865-27CB-4CCE-A49E-CBFD52BCCD90}" dt="2022-05-20T10:25:21.766" v="2150"/>
          <ac:spMkLst>
            <pc:docMk/>
            <pc:sldMk cId="178942994" sldId="2147375839"/>
            <ac:spMk id="29" creationId="{894D1664-7032-40EA-B957-EE730FAA87F6}"/>
          </ac:spMkLst>
        </pc:spChg>
        <pc:spChg chg="add del mod modVis">
          <ac:chgData name="Angela Liebana Medina" userId="33f3cdfd-f8b7-498b-b8ec-0f5ed21f0b4a" providerId="ADAL" clId="{94293865-27CB-4CCE-A49E-CBFD52BCCD90}" dt="2022-05-20T10:25:26.481" v="2211"/>
          <ac:spMkLst>
            <pc:docMk/>
            <pc:sldMk cId="178942994" sldId="2147375839"/>
            <ac:spMk id="30" creationId="{2E2F2801-378F-48D2-B5D8-585DF86DA098}"/>
          </ac:spMkLst>
        </pc:spChg>
        <pc:spChg chg="add del mod modVis">
          <ac:chgData name="Angela Liebana Medina" userId="33f3cdfd-f8b7-498b-b8ec-0f5ed21f0b4a" providerId="ADAL" clId="{94293865-27CB-4CCE-A49E-CBFD52BCCD90}" dt="2022-05-20T10:25:27.632" v="2258"/>
          <ac:spMkLst>
            <pc:docMk/>
            <pc:sldMk cId="178942994" sldId="2147375839"/>
            <ac:spMk id="31" creationId="{E7C62E96-781C-45D3-BE52-495EC55EB031}"/>
          </ac:spMkLst>
        </pc:spChg>
        <pc:spChg chg="mod ord">
          <ac:chgData name="Angela Liebana Medina" userId="33f3cdfd-f8b7-498b-b8ec-0f5ed21f0b4a" providerId="ADAL" clId="{94293865-27CB-4CCE-A49E-CBFD52BCCD90}" dt="2022-05-20T10:26:30.194" v="2268" actId="164"/>
          <ac:spMkLst>
            <pc:docMk/>
            <pc:sldMk cId="178942994" sldId="2147375839"/>
            <ac:spMk id="33" creationId="{AC5F5B59-5E67-48B4-A99A-3F4E00B8539C}"/>
          </ac:spMkLst>
        </pc:spChg>
        <pc:spChg chg="mod ord">
          <ac:chgData name="Angela Liebana Medina" userId="33f3cdfd-f8b7-498b-b8ec-0f5ed21f0b4a" providerId="ADAL" clId="{94293865-27CB-4CCE-A49E-CBFD52BCCD90}" dt="2022-05-20T10:25:27.554" v="2219" actId="948"/>
          <ac:spMkLst>
            <pc:docMk/>
            <pc:sldMk cId="178942994" sldId="2147375839"/>
            <ac:spMk id="39" creationId="{D022CD94-B6A3-40C7-940A-88A504441EE5}"/>
          </ac:spMkLst>
        </pc:spChg>
        <pc:spChg chg="mod ord topLvl">
          <ac:chgData name="Angela Liebana Medina" userId="33f3cdfd-f8b7-498b-b8ec-0f5ed21f0b4a" providerId="ADAL" clId="{94293865-27CB-4CCE-A49E-CBFD52BCCD90}" dt="2022-05-20T10:25:53.433" v="2262" actId="164"/>
          <ac:spMkLst>
            <pc:docMk/>
            <pc:sldMk cId="178942994" sldId="2147375839"/>
            <ac:spMk id="40" creationId="{0865407F-6427-4793-8B51-D87D5A39CAE4}"/>
          </ac:spMkLst>
        </pc:spChg>
        <pc:spChg chg="mod ord topLvl">
          <ac:chgData name="Angela Liebana Medina" userId="33f3cdfd-f8b7-498b-b8ec-0f5ed21f0b4a" providerId="ADAL" clId="{94293865-27CB-4CCE-A49E-CBFD52BCCD90}" dt="2022-05-20T10:26:05.052" v="2264" actId="164"/>
          <ac:spMkLst>
            <pc:docMk/>
            <pc:sldMk cId="178942994" sldId="2147375839"/>
            <ac:spMk id="44" creationId="{484F75DA-37A2-435D-A6CB-8F2EB6097144}"/>
          </ac:spMkLst>
        </pc:spChg>
        <pc:spChg chg="add del mod">
          <ac:chgData name="Angela Liebana Medina" userId="33f3cdfd-f8b7-498b-b8ec-0f5ed21f0b4a" providerId="ADAL" clId="{94293865-27CB-4CCE-A49E-CBFD52BCCD90}" dt="2022-05-20T10:00:14.625" v="1737" actId="22"/>
          <ac:spMkLst>
            <pc:docMk/>
            <pc:sldMk cId="178942994" sldId="2147375839"/>
            <ac:spMk id="45" creationId="{A3B520C5-48B9-4B9E-B040-22238520143A}"/>
          </ac:spMkLst>
        </pc:spChg>
        <pc:spChg chg="add mod ord">
          <ac:chgData name="Angela Liebana Medina" userId="33f3cdfd-f8b7-498b-b8ec-0f5ed21f0b4a" providerId="ADAL" clId="{94293865-27CB-4CCE-A49E-CBFD52BCCD90}" dt="2022-05-20T10:26:30.194" v="2268" actId="164"/>
          <ac:spMkLst>
            <pc:docMk/>
            <pc:sldMk cId="178942994" sldId="2147375839"/>
            <ac:spMk id="46" creationId="{389312CD-A726-4792-85B0-5BF2F6526FD5}"/>
          </ac:spMkLst>
        </pc:spChg>
        <pc:spChg chg="mod ord topLvl">
          <ac:chgData name="Angela Liebana Medina" userId="33f3cdfd-f8b7-498b-b8ec-0f5ed21f0b4a" providerId="ADAL" clId="{94293865-27CB-4CCE-A49E-CBFD52BCCD90}" dt="2022-05-20T10:26:05.052" v="2264" actId="164"/>
          <ac:spMkLst>
            <pc:docMk/>
            <pc:sldMk cId="178942994" sldId="2147375839"/>
            <ac:spMk id="47" creationId="{FF9FBE67-958F-4435-B532-24C2FFC7DB1A}"/>
          </ac:spMkLst>
        </pc:spChg>
        <pc:spChg chg="del mod topLvl">
          <ac:chgData name="Angela Liebana Medina" userId="33f3cdfd-f8b7-498b-b8ec-0f5ed21f0b4a" providerId="ADAL" clId="{94293865-27CB-4CCE-A49E-CBFD52BCCD90}" dt="2022-05-20T10:01:41.136" v="1755" actId="478"/>
          <ac:spMkLst>
            <pc:docMk/>
            <pc:sldMk cId="178942994" sldId="2147375839"/>
            <ac:spMk id="52" creationId="{D47B2EC1-0467-425D-8CDD-42F377C443C3}"/>
          </ac:spMkLst>
        </pc:spChg>
        <pc:spChg chg="mod ord">
          <ac:chgData name="Angela Liebana Medina" userId="33f3cdfd-f8b7-498b-b8ec-0f5ed21f0b4a" providerId="ADAL" clId="{94293865-27CB-4CCE-A49E-CBFD52BCCD90}" dt="2022-05-20T10:26:30.194" v="2268" actId="164"/>
          <ac:spMkLst>
            <pc:docMk/>
            <pc:sldMk cId="178942994" sldId="2147375839"/>
            <ac:spMk id="53" creationId="{E14C91CE-9993-4C65-8C72-33DADEF85B28}"/>
          </ac:spMkLst>
        </pc:spChg>
        <pc:spChg chg="mod ord topLvl">
          <ac:chgData name="Angela Liebana Medina" userId="33f3cdfd-f8b7-498b-b8ec-0f5ed21f0b4a" providerId="ADAL" clId="{94293865-27CB-4CCE-A49E-CBFD52BCCD90}" dt="2022-05-20T10:26:05.052" v="2264" actId="164"/>
          <ac:spMkLst>
            <pc:docMk/>
            <pc:sldMk cId="178942994" sldId="2147375839"/>
            <ac:spMk id="54" creationId="{8DC6ACF3-8B69-4E77-81E1-0A35AF5A9F43}"/>
          </ac:spMkLst>
        </pc:spChg>
        <pc:spChg chg="add mod ord">
          <ac:chgData name="Angela Liebana Medina" userId="33f3cdfd-f8b7-498b-b8ec-0f5ed21f0b4a" providerId="ADAL" clId="{94293865-27CB-4CCE-A49E-CBFD52BCCD90}" dt="2022-05-20T10:25:53.433" v="2262" actId="164"/>
          <ac:spMkLst>
            <pc:docMk/>
            <pc:sldMk cId="178942994" sldId="2147375839"/>
            <ac:spMk id="56" creationId="{CD5149FC-CB71-4283-86FC-4557416F06BD}"/>
          </ac:spMkLst>
        </pc:spChg>
        <pc:spChg chg="mod ord">
          <ac:chgData name="Angela Liebana Medina" userId="33f3cdfd-f8b7-498b-b8ec-0f5ed21f0b4a" providerId="ADAL" clId="{94293865-27CB-4CCE-A49E-CBFD52BCCD90}" dt="2022-05-20T10:26:30.194" v="2268" actId="164"/>
          <ac:spMkLst>
            <pc:docMk/>
            <pc:sldMk cId="178942994" sldId="2147375839"/>
            <ac:spMk id="58" creationId="{020DDB5B-B3C8-463D-BFD6-2C1A5856F023}"/>
          </ac:spMkLst>
        </pc:spChg>
        <pc:spChg chg="mod ord topLvl">
          <ac:chgData name="Angela Liebana Medina" userId="33f3cdfd-f8b7-498b-b8ec-0f5ed21f0b4a" providerId="ADAL" clId="{94293865-27CB-4CCE-A49E-CBFD52BCCD90}" dt="2022-05-20T10:25:53.433" v="2262" actId="164"/>
          <ac:spMkLst>
            <pc:docMk/>
            <pc:sldMk cId="178942994" sldId="2147375839"/>
            <ac:spMk id="67" creationId="{35A9873B-3972-4077-A047-3036D9A3F019}"/>
          </ac:spMkLst>
        </pc:spChg>
        <pc:spChg chg="del mod">
          <ac:chgData name="Angela Liebana Medina" userId="33f3cdfd-f8b7-498b-b8ec-0f5ed21f0b4a" providerId="ADAL" clId="{94293865-27CB-4CCE-A49E-CBFD52BCCD90}" dt="2022-05-20T09:58:22.359" v="1714" actId="478"/>
          <ac:spMkLst>
            <pc:docMk/>
            <pc:sldMk cId="178942994" sldId="2147375839"/>
            <ac:spMk id="70" creationId="{F0BA3873-4F23-4EFB-84A6-907220C27AB7}"/>
          </ac:spMkLst>
        </pc:spChg>
        <pc:spChg chg="mod ord">
          <ac:chgData name="Angela Liebana Medina" userId="33f3cdfd-f8b7-498b-b8ec-0f5ed21f0b4a" providerId="ADAL" clId="{94293865-27CB-4CCE-A49E-CBFD52BCCD90}" dt="2022-05-20T10:26:30.194" v="2268" actId="164"/>
          <ac:spMkLst>
            <pc:docMk/>
            <pc:sldMk cId="178942994" sldId="2147375839"/>
            <ac:spMk id="75" creationId="{C1865D26-770B-4EA2-8A44-1D67B0CF78C1}"/>
          </ac:spMkLst>
        </pc:spChg>
        <pc:spChg chg="mod ord">
          <ac:chgData name="Angela Liebana Medina" userId="33f3cdfd-f8b7-498b-b8ec-0f5ed21f0b4a" providerId="ADAL" clId="{94293865-27CB-4CCE-A49E-CBFD52BCCD90}" dt="2022-05-20T10:10:14.253" v="1961" actId="14100"/>
          <ac:spMkLst>
            <pc:docMk/>
            <pc:sldMk cId="178942994" sldId="2147375839"/>
            <ac:spMk id="76" creationId="{F29AB2D3-43DF-47A0-886F-BBC1362D16F6}"/>
          </ac:spMkLst>
        </pc:spChg>
        <pc:grpChg chg="mod">
          <ac:chgData name="Angela Liebana Medina" userId="33f3cdfd-f8b7-498b-b8ec-0f5ed21f0b4a" providerId="ADAL" clId="{94293865-27CB-4CCE-A49E-CBFD52BCCD90}" dt="2022-05-20T10:24:42.218" v="2082" actId="1038"/>
          <ac:grpSpMkLst>
            <pc:docMk/>
            <pc:sldMk cId="178942994" sldId="2147375839"/>
            <ac:grpSpMk id="2" creationId="{5D736DE2-7694-4004-9DEA-2391CED91C8F}"/>
          </ac:grpSpMkLst>
        </pc:grpChg>
        <pc:grpChg chg="mod">
          <ac:chgData name="Angela Liebana Medina" userId="33f3cdfd-f8b7-498b-b8ec-0f5ed21f0b4a" providerId="ADAL" clId="{94293865-27CB-4CCE-A49E-CBFD52BCCD90}" dt="2022-05-20T10:24:42.218" v="2082" actId="1038"/>
          <ac:grpSpMkLst>
            <pc:docMk/>
            <pc:sldMk cId="178942994" sldId="2147375839"/>
            <ac:grpSpMk id="5" creationId="{D0BCE8B9-055E-49D6-8086-C797AF92AF04}"/>
          </ac:grpSpMkLst>
        </pc:grpChg>
        <pc:grpChg chg="del mod">
          <ac:chgData name="Angela Liebana Medina" userId="33f3cdfd-f8b7-498b-b8ec-0f5ed21f0b4a" providerId="ADAL" clId="{94293865-27CB-4CCE-A49E-CBFD52BCCD90}" dt="2022-05-20T10:05:08.857" v="1795" actId="165"/>
          <ac:grpSpMkLst>
            <pc:docMk/>
            <pc:sldMk cId="178942994" sldId="2147375839"/>
            <ac:grpSpMk id="6" creationId="{B16A46AF-CB21-4106-8390-E23FA2284054}"/>
          </ac:grpSpMkLst>
        </pc:grpChg>
        <pc:grpChg chg="del">
          <ac:chgData name="Angela Liebana Medina" userId="33f3cdfd-f8b7-498b-b8ec-0f5ed21f0b4a" providerId="ADAL" clId="{94293865-27CB-4CCE-A49E-CBFD52BCCD90}" dt="2022-05-20T10:06:24.349" v="1806" actId="165"/>
          <ac:grpSpMkLst>
            <pc:docMk/>
            <pc:sldMk cId="178942994" sldId="2147375839"/>
            <ac:grpSpMk id="9" creationId="{E48F94B9-2386-48E6-9E25-C11A765FF7B5}"/>
          </ac:grpSpMkLst>
        </pc:grpChg>
        <pc:grpChg chg="mod">
          <ac:chgData name="Angela Liebana Medina" userId="33f3cdfd-f8b7-498b-b8ec-0f5ed21f0b4a" providerId="ADAL" clId="{94293865-27CB-4CCE-A49E-CBFD52BCCD90}" dt="2022-05-20T10:24:42.218" v="2082" actId="1038"/>
          <ac:grpSpMkLst>
            <pc:docMk/>
            <pc:sldMk cId="178942994" sldId="2147375839"/>
            <ac:grpSpMk id="12" creationId="{C5C8D1B5-4578-46EB-BB8D-D53A30164640}"/>
          </ac:grpSpMkLst>
        </pc:grpChg>
        <pc:grpChg chg="add mod">
          <ac:chgData name="Angela Liebana Medina" userId="33f3cdfd-f8b7-498b-b8ec-0f5ed21f0b4a" providerId="ADAL" clId="{94293865-27CB-4CCE-A49E-CBFD52BCCD90}" dt="2022-05-20T10:26:45.559" v="2269" actId="164"/>
          <ac:grpSpMkLst>
            <pc:docMk/>
            <pc:sldMk cId="178942994" sldId="2147375839"/>
            <ac:grpSpMk id="13" creationId="{DA10DDB9-BFA1-4D3B-B3D9-FD6F1B111C00}"/>
          </ac:grpSpMkLst>
        </pc:grpChg>
        <pc:grpChg chg="mod">
          <ac:chgData name="Angela Liebana Medina" userId="33f3cdfd-f8b7-498b-b8ec-0f5ed21f0b4a" providerId="ADAL" clId="{94293865-27CB-4CCE-A49E-CBFD52BCCD90}" dt="2022-05-20T10:24:42.218" v="2082" actId="1038"/>
          <ac:grpSpMkLst>
            <pc:docMk/>
            <pc:sldMk cId="178942994" sldId="2147375839"/>
            <ac:grpSpMk id="14" creationId="{FBEE5CF9-2D36-4264-8FA2-D53DF3A6AB2B}"/>
          </ac:grpSpMkLst>
        </pc:grpChg>
        <pc:grpChg chg="mod topLvl">
          <ac:chgData name="Angela Liebana Medina" userId="33f3cdfd-f8b7-498b-b8ec-0f5ed21f0b4a" providerId="ADAL" clId="{94293865-27CB-4CCE-A49E-CBFD52BCCD90}" dt="2022-05-20T10:24:42.218" v="2082" actId="1038"/>
          <ac:grpSpMkLst>
            <pc:docMk/>
            <pc:sldMk cId="178942994" sldId="2147375839"/>
            <ac:grpSpMk id="15" creationId="{6437F1D1-D2D7-4954-B3B5-955D942F93B7}"/>
          </ac:grpSpMkLst>
        </pc:grpChg>
        <pc:grpChg chg="add mod">
          <ac:chgData name="Angela Liebana Medina" userId="33f3cdfd-f8b7-498b-b8ec-0f5ed21f0b4a" providerId="ADAL" clId="{94293865-27CB-4CCE-A49E-CBFD52BCCD90}" dt="2022-05-20T10:26:45.559" v="2269" actId="164"/>
          <ac:grpSpMkLst>
            <pc:docMk/>
            <pc:sldMk cId="178942994" sldId="2147375839"/>
            <ac:grpSpMk id="32" creationId="{2C2E55E7-A83C-4402-BDDE-6D27AA3C4865}"/>
          </ac:grpSpMkLst>
        </pc:grpChg>
        <pc:grpChg chg="add mod">
          <ac:chgData name="Angela Liebana Medina" userId="33f3cdfd-f8b7-498b-b8ec-0f5ed21f0b4a" providerId="ADAL" clId="{94293865-27CB-4CCE-A49E-CBFD52BCCD90}" dt="2022-05-20T10:26:45.559" v="2269" actId="164"/>
          <ac:grpSpMkLst>
            <pc:docMk/>
            <pc:sldMk cId="178942994" sldId="2147375839"/>
            <ac:grpSpMk id="34" creationId="{ACFF064D-DF24-40C8-B486-CE7C36E99965}"/>
          </ac:grpSpMkLst>
        </pc:grpChg>
        <pc:grpChg chg="add mod">
          <ac:chgData name="Angela Liebana Medina" userId="33f3cdfd-f8b7-498b-b8ec-0f5ed21f0b4a" providerId="ADAL" clId="{94293865-27CB-4CCE-A49E-CBFD52BCCD90}" dt="2022-05-20T10:26:30.194" v="2268" actId="164"/>
          <ac:grpSpMkLst>
            <pc:docMk/>
            <pc:sldMk cId="178942994" sldId="2147375839"/>
            <ac:grpSpMk id="35" creationId="{2EB2DCF2-B2B4-4D22-ACC7-045FD8C0B3B7}"/>
          </ac:grpSpMkLst>
        </pc:grpChg>
        <pc:grpChg chg="add mod">
          <ac:chgData name="Angela Liebana Medina" userId="33f3cdfd-f8b7-498b-b8ec-0f5ed21f0b4a" providerId="ADAL" clId="{94293865-27CB-4CCE-A49E-CBFD52BCCD90}" dt="2022-05-20T10:26:45.559" v="2269" actId="164"/>
          <ac:grpSpMkLst>
            <pc:docMk/>
            <pc:sldMk cId="178942994" sldId="2147375839"/>
            <ac:grpSpMk id="36" creationId="{AE0AA920-5AEA-4CD7-B297-363535A4C1BA}"/>
          </ac:grpSpMkLst>
        </pc:grpChg>
        <pc:grpChg chg="del">
          <ac:chgData name="Angela Liebana Medina" userId="33f3cdfd-f8b7-498b-b8ec-0f5ed21f0b4a" providerId="ADAL" clId="{94293865-27CB-4CCE-A49E-CBFD52BCCD90}" dt="2022-05-20T10:07:18.022" v="1834" actId="165"/>
          <ac:grpSpMkLst>
            <pc:docMk/>
            <pc:sldMk cId="178942994" sldId="2147375839"/>
            <ac:grpSpMk id="42" creationId="{80AD74FA-4C31-4E49-8295-29401366680B}"/>
          </ac:grpSpMkLst>
        </pc:grpChg>
        <pc:grpChg chg="del mod topLvl">
          <ac:chgData name="Angela Liebana Medina" userId="33f3cdfd-f8b7-498b-b8ec-0f5ed21f0b4a" providerId="ADAL" clId="{94293865-27CB-4CCE-A49E-CBFD52BCCD90}" dt="2022-05-20T10:07:22.670" v="1835" actId="165"/>
          <ac:grpSpMkLst>
            <pc:docMk/>
            <pc:sldMk cId="178942994" sldId="2147375839"/>
            <ac:grpSpMk id="43" creationId="{57C6BB1B-219E-4046-AAA5-53F8A5651F70}"/>
          </ac:grpSpMkLst>
        </pc:grpChg>
        <pc:grpChg chg="add del mod">
          <ac:chgData name="Angela Liebana Medina" userId="33f3cdfd-f8b7-498b-b8ec-0f5ed21f0b4a" providerId="ADAL" clId="{94293865-27CB-4CCE-A49E-CBFD52BCCD90}" dt="2022-05-20T10:01:41.136" v="1755" actId="478"/>
          <ac:grpSpMkLst>
            <pc:docMk/>
            <pc:sldMk cId="178942994" sldId="2147375839"/>
            <ac:grpSpMk id="50" creationId="{3A3C820E-08FB-4AA8-878C-5808B902A458}"/>
          </ac:grpSpMkLst>
        </pc:grpChg>
        <pc:grpChg chg="add del mod topLvl">
          <ac:chgData name="Angela Liebana Medina" userId="33f3cdfd-f8b7-498b-b8ec-0f5ed21f0b4a" providerId="ADAL" clId="{94293865-27CB-4CCE-A49E-CBFD52BCCD90}" dt="2022-05-20T10:01:48.981" v="1758" actId="165"/>
          <ac:grpSpMkLst>
            <pc:docMk/>
            <pc:sldMk cId="178942994" sldId="2147375839"/>
            <ac:grpSpMk id="51" creationId="{B1BB155E-EA7B-4A67-A0BA-B4AA9BB47FCD}"/>
          </ac:grpSpMkLst>
        </pc:grpChg>
        <pc:grpChg chg="del mod topLvl">
          <ac:chgData name="Angela Liebana Medina" userId="33f3cdfd-f8b7-498b-b8ec-0f5ed21f0b4a" providerId="ADAL" clId="{94293865-27CB-4CCE-A49E-CBFD52BCCD90}" dt="2022-05-20T10:05:42.987" v="1801" actId="165"/>
          <ac:grpSpMkLst>
            <pc:docMk/>
            <pc:sldMk cId="178942994" sldId="2147375839"/>
            <ac:grpSpMk id="66" creationId="{CFB69E18-5ACA-4A0C-A05A-068784F77625}"/>
          </ac:grpSpMkLst>
        </pc:grpChg>
        <pc:grpChg chg="del">
          <ac:chgData name="Angela Liebana Medina" userId="33f3cdfd-f8b7-498b-b8ec-0f5ed21f0b4a" providerId="ADAL" clId="{94293865-27CB-4CCE-A49E-CBFD52BCCD90}" dt="2022-05-20T09:58:22.359" v="1714" actId="478"/>
          <ac:grpSpMkLst>
            <pc:docMk/>
            <pc:sldMk cId="178942994" sldId="2147375839"/>
            <ac:grpSpMk id="69" creationId="{CB8F2F82-AAFC-41E1-A146-1BDC91046964}"/>
          </ac:grpSpMkLst>
        </pc:grpChg>
        <pc:graphicFrameChg chg="mod">
          <ac:chgData name="Angela Liebana Medina" userId="33f3cdfd-f8b7-498b-b8ec-0f5ed21f0b4a" providerId="ADAL" clId="{94293865-27CB-4CCE-A49E-CBFD52BCCD90}" dt="2022-05-20T10:25:27.636" v="2260"/>
          <ac:graphicFrameMkLst>
            <pc:docMk/>
            <pc:sldMk cId="178942994" sldId="2147375839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10:24:42.218" v="2082" actId="1038"/>
          <ac:picMkLst>
            <pc:docMk/>
            <pc:sldMk cId="178942994" sldId="2147375839"/>
            <ac:picMk id="23" creationId="{FB1450C6-98C3-476B-8FFF-E20306A40EC5}"/>
          </ac:picMkLst>
        </pc:picChg>
        <pc:picChg chg="add mod ord">
          <ac:chgData name="Angela Liebana Medina" userId="33f3cdfd-f8b7-498b-b8ec-0f5ed21f0b4a" providerId="ADAL" clId="{94293865-27CB-4CCE-A49E-CBFD52BCCD90}" dt="2022-05-20T10:25:53.433" v="2262" actId="164"/>
          <ac:picMkLst>
            <pc:docMk/>
            <pc:sldMk cId="178942994" sldId="2147375839"/>
            <ac:picMk id="41" creationId="{5C9C252E-3F95-45C9-8FE5-F1B898B01B92}"/>
          </ac:picMkLst>
        </pc:picChg>
        <pc:picChg chg="mod ord topLvl">
          <ac:chgData name="Angela Liebana Medina" userId="33f3cdfd-f8b7-498b-b8ec-0f5ed21f0b4a" providerId="ADAL" clId="{94293865-27CB-4CCE-A49E-CBFD52BCCD90}" dt="2022-05-20T10:26:05.052" v="2264" actId="164"/>
          <ac:picMkLst>
            <pc:docMk/>
            <pc:sldMk cId="178942994" sldId="2147375839"/>
            <ac:picMk id="49" creationId="{3F75461F-7B84-4393-834B-1588F66AE0A3}"/>
          </ac:picMkLst>
        </pc:picChg>
        <pc:picChg chg="del mod topLvl">
          <ac:chgData name="Angela Liebana Medina" userId="33f3cdfd-f8b7-498b-b8ec-0f5ed21f0b4a" providerId="ADAL" clId="{94293865-27CB-4CCE-A49E-CBFD52BCCD90}" dt="2022-05-20T10:02:44.890" v="1768" actId="478"/>
          <ac:picMkLst>
            <pc:docMk/>
            <pc:sldMk cId="178942994" sldId="2147375839"/>
            <ac:picMk id="55" creationId="{4586E2E6-18B0-46C9-B003-90BE7698769F}"/>
          </ac:picMkLst>
        </pc:picChg>
        <pc:picChg chg="add mod ord">
          <ac:chgData name="Angela Liebana Medina" userId="33f3cdfd-f8b7-498b-b8ec-0f5ed21f0b4a" providerId="ADAL" clId="{94293865-27CB-4CCE-A49E-CBFD52BCCD90}" dt="2022-05-20T10:26:05.052" v="2264" actId="164"/>
          <ac:picMkLst>
            <pc:docMk/>
            <pc:sldMk cId="178942994" sldId="2147375839"/>
            <ac:picMk id="57" creationId="{B3149FF4-90B6-49FF-ADAB-04FDE871A863}"/>
          </ac:picMkLst>
        </pc:picChg>
        <pc:picChg chg="del mod topLvl">
          <ac:chgData name="Angela Liebana Medina" userId="33f3cdfd-f8b7-498b-b8ec-0f5ed21f0b4a" providerId="ADAL" clId="{94293865-27CB-4CCE-A49E-CBFD52BCCD90}" dt="2022-05-20T10:05:49.965" v="1804" actId="478"/>
          <ac:picMkLst>
            <pc:docMk/>
            <pc:sldMk cId="178942994" sldId="2147375839"/>
            <ac:picMk id="68" creationId="{03A5B23B-4CB3-4C3A-8194-002959EB12ED}"/>
          </ac:picMkLst>
        </pc:picChg>
        <pc:picChg chg="mod ord topLvl">
          <ac:chgData name="Angela Liebana Medina" userId="33f3cdfd-f8b7-498b-b8ec-0f5ed21f0b4a" providerId="ADAL" clId="{94293865-27CB-4CCE-A49E-CBFD52BCCD90}" dt="2022-05-20T10:25:53.433" v="2262" actId="164"/>
          <ac:picMkLst>
            <pc:docMk/>
            <pc:sldMk cId="178942994" sldId="2147375839"/>
            <ac:picMk id="72" creationId="{53BED147-9A35-4EF3-B42F-6BAAD139C376}"/>
          </ac:picMkLst>
        </pc:picChg>
        <pc:cxnChg chg="mod topLvl">
          <ac:chgData name="Angela Liebana Medina" userId="33f3cdfd-f8b7-498b-b8ec-0f5ed21f0b4a" providerId="ADAL" clId="{94293865-27CB-4CCE-A49E-CBFD52BCCD90}" dt="2022-05-20T10:24:42.218" v="2082" actId="1038"/>
          <ac:cxnSpMkLst>
            <pc:docMk/>
            <pc:sldMk cId="178942994" sldId="2147375839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24:42.218" v="2082" actId="1038"/>
          <ac:cxnSpMkLst>
            <pc:docMk/>
            <pc:sldMk cId="178942994" sldId="2147375839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24:42.218" v="2082" actId="1038"/>
          <ac:cxnSpMkLst>
            <pc:docMk/>
            <pc:sldMk cId="178942994" sldId="2147375839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10:08:43.677" v="1893"/>
          <ac:cxnSpMkLst>
            <pc:docMk/>
            <pc:sldMk cId="178942994" sldId="2147375839"/>
            <ac:cxnSpMk id="48" creationId="{CA4A3689-DBE2-40CF-B5F3-2F5A7EF17177}"/>
          </ac:cxnSpMkLst>
        </pc:cxnChg>
        <pc:cxnChg chg="mod topLvl">
          <ac:chgData name="Angela Liebana Medina" userId="33f3cdfd-f8b7-498b-b8ec-0f5ed21f0b4a" providerId="ADAL" clId="{94293865-27CB-4CCE-A49E-CBFD52BCCD90}" dt="2022-05-20T10:24:42.218" v="2082" actId="1038"/>
          <ac:cxnSpMkLst>
            <pc:docMk/>
            <pc:sldMk cId="178942994" sldId="2147375839"/>
            <ac:cxnSpMk id="73" creationId="{69F7AC2F-397C-4C59-9A84-35FFC37B8D77}"/>
          </ac:cxnSpMkLst>
        </pc:cxnChg>
      </pc:sldChg>
      <pc:sldChg chg="modSp add del mod">
        <pc:chgData name="Angela Liebana Medina" userId="33f3cdfd-f8b7-498b-b8ec-0f5ed21f0b4a" providerId="ADAL" clId="{94293865-27CB-4CCE-A49E-CBFD52BCCD90}" dt="2022-05-20T10:13:49.892" v="2003" actId="47"/>
        <pc:sldMkLst>
          <pc:docMk/>
          <pc:sldMk cId="128530487" sldId="2147375840"/>
        </pc:sldMkLst>
        <pc:spChg chg="mod">
          <ac:chgData name="Angela Liebana Medina" userId="33f3cdfd-f8b7-498b-b8ec-0f5ed21f0b4a" providerId="ADAL" clId="{94293865-27CB-4CCE-A49E-CBFD52BCCD90}" dt="2022-05-20T10:13:44.498" v="2001" actId="20577"/>
          <ac:spMkLst>
            <pc:docMk/>
            <pc:sldMk cId="128530487" sldId="2147375840"/>
            <ac:spMk id="67" creationId="{35A9873B-3972-4077-A047-3036D9A3F019}"/>
          </ac:spMkLst>
        </pc:spChg>
        <pc:spChg chg="mod">
          <ac:chgData name="Angela Liebana Medina" userId="33f3cdfd-f8b7-498b-b8ec-0f5ed21f0b4a" providerId="ADAL" clId="{94293865-27CB-4CCE-A49E-CBFD52BCCD90}" dt="2022-05-20T10:13:45.143" v="2002" actId="20577"/>
          <ac:spMkLst>
            <pc:docMk/>
            <pc:sldMk cId="128530487" sldId="2147375840"/>
            <ac:spMk id="75" creationId="{C1865D26-770B-4EA2-8A44-1D67B0CF78C1}"/>
          </ac:spMkLst>
        </pc:spChg>
      </pc:sldChg>
      <pc:sldChg chg="addSp delSp modSp add mod">
        <pc:chgData name="Angela Liebana Medina" userId="33f3cdfd-f8b7-498b-b8ec-0f5ed21f0b4a" providerId="ADAL" clId="{94293865-27CB-4CCE-A49E-CBFD52BCCD90}" dt="2022-05-20T10:32:47.350" v="2431" actId="1076"/>
        <pc:sldMkLst>
          <pc:docMk/>
          <pc:sldMk cId="681548050" sldId="2147375840"/>
        </pc:sldMkLst>
        <pc:spChg chg="mod ord topLvl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" creationId="{444E28E4-126B-4513-8568-8C2A86FD0469}"/>
          </ac:spMkLst>
        </pc:spChg>
        <pc:spChg chg="add del mod modVis">
          <ac:chgData name="Angela Liebana Medina" userId="33f3cdfd-f8b7-498b-b8ec-0f5ed21f0b4a" providerId="ADAL" clId="{94293865-27CB-4CCE-A49E-CBFD52BCCD90}" dt="2022-05-20T10:28:33.516" v="2338"/>
          <ac:spMkLst>
            <pc:docMk/>
            <pc:sldMk cId="681548050" sldId="2147375840"/>
            <ac:spMk id="6" creationId="{8089483B-8784-41D2-B4D2-E882C634F58B}"/>
          </ac:spMkLst>
        </pc:spChg>
        <pc:spChg chg="add del">
          <ac:chgData name="Angela Liebana Medina" userId="33f3cdfd-f8b7-498b-b8ec-0f5ed21f0b4a" providerId="ADAL" clId="{94293865-27CB-4CCE-A49E-CBFD52BCCD90}" dt="2022-05-20T10:29:01.720" v="2343" actId="11529"/>
          <ac:spMkLst>
            <pc:docMk/>
            <pc:sldMk cId="681548050" sldId="2147375840"/>
            <ac:spMk id="7" creationId="{0BBDAFEA-3910-4A78-A152-994B308CF629}"/>
          </ac:spMkLst>
        </pc:spChg>
        <pc:spChg chg="mod ord">
          <ac:chgData name="Angela Liebana Medina" userId="33f3cdfd-f8b7-498b-b8ec-0f5ed21f0b4a" providerId="ADAL" clId="{94293865-27CB-4CCE-A49E-CBFD52BCCD90}" dt="2022-05-20T10:29:35.475" v="2379"/>
          <ac:spMkLst>
            <pc:docMk/>
            <pc:sldMk cId="681548050" sldId="2147375840"/>
            <ac:spMk id="8" creationId="{EF111281-EBC1-45F5-A61A-127302E518D7}"/>
          </ac:spMkLst>
        </pc:spChg>
        <pc:spChg chg="mod ord topLvl">
          <ac:chgData name="Angela Liebana Medina" userId="33f3cdfd-f8b7-498b-b8ec-0f5ed21f0b4a" providerId="ADAL" clId="{94293865-27CB-4CCE-A49E-CBFD52BCCD90}" dt="2022-05-20T10:32:40.273" v="2430" actId="1076"/>
          <ac:spMkLst>
            <pc:docMk/>
            <pc:sldMk cId="681548050" sldId="2147375840"/>
            <ac:spMk id="16" creationId="{7AF0D92A-F739-4416-B3C4-85E986E26B17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20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33" creationId="{AC5F5B59-5E67-48B4-A99A-3F4E00B8539C}"/>
          </ac:spMkLst>
        </pc:spChg>
        <pc:spChg chg="mod ord">
          <ac:chgData name="Angela Liebana Medina" userId="33f3cdfd-f8b7-498b-b8ec-0f5ed21f0b4a" providerId="ADAL" clId="{94293865-27CB-4CCE-A49E-CBFD52BCCD90}" dt="2022-05-20T10:29:35.476" v="2381"/>
          <ac:spMkLst>
            <pc:docMk/>
            <pc:sldMk cId="681548050" sldId="2147375840"/>
            <ac:spMk id="39" creationId="{D022CD94-B6A3-40C7-940A-88A504441EE5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0" creationId="{0865407F-6427-4793-8B51-D87D5A39CAE4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4" creationId="{484F75DA-37A2-435D-A6CB-8F2EB6097144}"/>
          </ac:spMkLst>
        </pc:spChg>
        <pc:spChg chg="add mod or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5" creationId="{AE6D9F9D-EA78-45EB-A329-F1D9F1D0F425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6" creationId="{389312CD-A726-4792-85B0-5BF2F6526FD5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47" creationId="{FF9FBE67-958F-4435-B532-24C2FFC7DB1A}"/>
          </ac:spMkLst>
        </pc:spChg>
        <pc:spChg chg="mod">
          <ac:chgData name="Angela Liebana Medina" userId="33f3cdfd-f8b7-498b-b8ec-0f5ed21f0b4a" providerId="ADAL" clId="{94293865-27CB-4CCE-A49E-CBFD52BCCD90}" dt="2022-05-20T10:32:35.624" v="2428" actId="1076"/>
          <ac:spMkLst>
            <pc:docMk/>
            <pc:sldMk cId="681548050" sldId="2147375840"/>
            <ac:spMk id="53" creationId="{E14C91CE-9993-4C65-8C72-33DADEF85B28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54" creationId="{8DC6ACF3-8B69-4E77-81E1-0A35AF5A9F43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56" creationId="{CD5149FC-CB71-4283-86FC-4557416F06BD}"/>
          </ac:spMkLst>
        </pc:spChg>
        <pc:spChg chg="mod">
          <ac:chgData name="Angela Liebana Medina" userId="33f3cdfd-f8b7-498b-b8ec-0f5ed21f0b4a" providerId="ADAL" clId="{94293865-27CB-4CCE-A49E-CBFD52BCCD90}" dt="2022-05-20T10:32:47.350" v="2431" actId="1076"/>
          <ac:spMkLst>
            <pc:docMk/>
            <pc:sldMk cId="681548050" sldId="2147375840"/>
            <ac:spMk id="58" creationId="{020DDB5B-B3C8-463D-BFD6-2C1A5856F023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67" creationId="{35A9873B-3972-4077-A047-3036D9A3F019}"/>
          </ac:spMkLst>
        </pc:spChg>
        <pc:spChg chg="mo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75" creationId="{C1865D26-770B-4EA2-8A44-1D67B0CF78C1}"/>
          </ac:spMkLst>
        </pc:spChg>
        <pc:spChg chg="mod ord">
          <ac:chgData name="Angela Liebana Medina" userId="33f3cdfd-f8b7-498b-b8ec-0f5ed21f0b4a" providerId="ADAL" clId="{94293865-27CB-4CCE-A49E-CBFD52BCCD90}" dt="2022-05-20T10:31:54.590" v="2426" actId="1035"/>
          <ac:spMkLst>
            <pc:docMk/>
            <pc:sldMk cId="681548050" sldId="2147375840"/>
            <ac:spMk id="76" creationId="{F29AB2D3-43DF-47A0-886F-BBC1362D16F6}"/>
          </ac:spMkLst>
        </pc:spChg>
        <pc:grpChg chg="mo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2" creationId="{5D736DE2-7694-4004-9DEA-2391CED91C8F}"/>
          </ac:grpSpMkLst>
        </pc:grpChg>
        <pc:grpChg chg="mo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5" creationId="{D0BCE8B9-055E-49D6-8086-C797AF92AF04}"/>
          </ac:grpSpMkLst>
        </pc:grpChg>
        <pc:grpChg chg="mo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12" creationId="{C5C8D1B5-4578-46EB-BB8D-D53A30164640}"/>
          </ac:grpSpMkLst>
        </pc:grpChg>
        <pc:grpChg chg="mod topLvl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13" creationId="{DA10DDB9-BFA1-4D3B-B3D9-FD6F1B111C00}"/>
          </ac:grpSpMkLst>
        </pc:grpChg>
        <pc:grpChg chg="mo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14" creationId="{FBEE5CF9-2D36-4264-8FA2-D53DF3A6AB2B}"/>
          </ac:grpSpMkLst>
        </pc:grpChg>
        <pc:grpChg chg="mo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15" creationId="{6437F1D1-D2D7-4954-B3B5-955D942F93B7}"/>
          </ac:grpSpMkLst>
        </pc:grpChg>
        <pc:grpChg chg="mod ord topLvl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32" creationId="{2C2E55E7-A83C-4402-BDDE-6D27AA3C4865}"/>
          </ac:grpSpMkLst>
        </pc:grpChg>
        <pc:grpChg chg="mod ord topLvl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34" creationId="{ACFF064D-DF24-40C8-B486-CE7C36E99965}"/>
          </ac:grpSpMkLst>
        </pc:grpChg>
        <pc:grpChg chg="mod ord">
          <ac:chgData name="Angela Liebana Medina" userId="33f3cdfd-f8b7-498b-b8ec-0f5ed21f0b4a" providerId="ADAL" clId="{94293865-27CB-4CCE-A49E-CBFD52BCCD90}" dt="2022-05-20T10:31:54.590" v="2426" actId="1035"/>
          <ac:grpSpMkLst>
            <pc:docMk/>
            <pc:sldMk cId="681548050" sldId="2147375840"/>
            <ac:grpSpMk id="35" creationId="{2EB2DCF2-B2B4-4D22-ACC7-045FD8C0B3B7}"/>
          </ac:grpSpMkLst>
        </pc:grpChg>
        <pc:grpChg chg="del">
          <ac:chgData name="Angela Liebana Medina" userId="33f3cdfd-f8b7-498b-b8ec-0f5ed21f0b4a" providerId="ADAL" clId="{94293865-27CB-4CCE-A49E-CBFD52BCCD90}" dt="2022-05-20T10:28:02.980" v="2277" actId="165"/>
          <ac:grpSpMkLst>
            <pc:docMk/>
            <pc:sldMk cId="681548050" sldId="2147375840"/>
            <ac:grpSpMk id="36" creationId="{AE0AA920-5AEA-4CD7-B297-363535A4C1BA}"/>
          </ac:grpSpMkLst>
        </pc:grpChg>
        <pc:graphicFrameChg chg="mod">
          <ac:chgData name="Angela Liebana Medina" userId="33f3cdfd-f8b7-498b-b8ec-0f5ed21f0b4a" providerId="ADAL" clId="{94293865-27CB-4CCE-A49E-CBFD52BCCD90}" dt="2022-05-20T10:29:35.489" v="2396"/>
          <ac:graphicFrameMkLst>
            <pc:docMk/>
            <pc:sldMk cId="681548050" sldId="2147375840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10:31:54.590" v="2426" actId="1035"/>
          <ac:picMkLst>
            <pc:docMk/>
            <pc:sldMk cId="681548050" sldId="2147375840"/>
            <ac:picMk id="23" creationId="{FB1450C6-98C3-476B-8FFF-E20306A40EC5}"/>
          </ac:picMkLst>
        </pc:picChg>
        <pc:picChg chg="mod">
          <ac:chgData name="Angela Liebana Medina" userId="33f3cdfd-f8b7-498b-b8ec-0f5ed21f0b4a" providerId="ADAL" clId="{94293865-27CB-4CCE-A49E-CBFD52BCCD90}" dt="2022-05-20T10:31:54.590" v="2426" actId="1035"/>
          <ac:picMkLst>
            <pc:docMk/>
            <pc:sldMk cId="681548050" sldId="2147375840"/>
            <ac:picMk id="41" creationId="{5C9C252E-3F95-45C9-8FE5-F1B898B01B92}"/>
          </ac:picMkLst>
        </pc:picChg>
        <pc:picChg chg="mod">
          <ac:chgData name="Angela Liebana Medina" userId="33f3cdfd-f8b7-498b-b8ec-0f5ed21f0b4a" providerId="ADAL" clId="{94293865-27CB-4CCE-A49E-CBFD52BCCD90}" dt="2022-05-20T10:31:54.590" v="2426" actId="1035"/>
          <ac:picMkLst>
            <pc:docMk/>
            <pc:sldMk cId="681548050" sldId="2147375840"/>
            <ac:picMk id="49" creationId="{3F75461F-7B84-4393-834B-1588F66AE0A3}"/>
          </ac:picMkLst>
        </pc:picChg>
        <pc:picChg chg="mod">
          <ac:chgData name="Angela Liebana Medina" userId="33f3cdfd-f8b7-498b-b8ec-0f5ed21f0b4a" providerId="ADAL" clId="{94293865-27CB-4CCE-A49E-CBFD52BCCD90}" dt="2022-05-20T10:31:54.590" v="2426" actId="1035"/>
          <ac:picMkLst>
            <pc:docMk/>
            <pc:sldMk cId="681548050" sldId="2147375840"/>
            <ac:picMk id="57" creationId="{B3149FF4-90B6-49FF-ADAB-04FDE871A863}"/>
          </ac:picMkLst>
        </pc:picChg>
        <pc:picChg chg="mod">
          <ac:chgData name="Angela Liebana Medina" userId="33f3cdfd-f8b7-498b-b8ec-0f5ed21f0b4a" providerId="ADAL" clId="{94293865-27CB-4CCE-A49E-CBFD52BCCD90}" dt="2022-05-20T10:31:54.590" v="2426" actId="1035"/>
          <ac:picMkLst>
            <pc:docMk/>
            <pc:sldMk cId="681548050" sldId="2147375840"/>
            <ac:picMk id="72" creationId="{53BED147-9A35-4EF3-B42F-6BAAD139C376}"/>
          </ac:picMkLst>
        </pc:picChg>
        <pc:cxnChg chg="mod">
          <ac:chgData name="Angela Liebana Medina" userId="33f3cdfd-f8b7-498b-b8ec-0f5ed21f0b4a" providerId="ADAL" clId="{94293865-27CB-4CCE-A49E-CBFD52BCCD90}" dt="2022-05-20T10:31:54.590" v="2426" actId="1035"/>
          <ac:cxnSpMkLst>
            <pc:docMk/>
            <pc:sldMk cId="681548050" sldId="2147375840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31:54.590" v="2426" actId="1035"/>
          <ac:cxnSpMkLst>
            <pc:docMk/>
            <pc:sldMk cId="681548050" sldId="2147375840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31:54.590" v="2426" actId="1035"/>
          <ac:cxnSpMkLst>
            <pc:docMk/>
            <pc:sldMk cId="681548050" sldId="2147375840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10:29:35.477" v="2383"/>
          <ac:cxnSpMkLst>
            <pc:docMk/>
            <pc:sldMk cId="681548050" sldId="2147375840"/>
            <ac:cxnSpMk id="48" creationId="{CA4A3689-DBE2-40CF-B5F3-2F5A7EF17177}"/>
          </ac:cxnSpMkLst>
        </pc:cxnChg>
        <pc:cxnChg chg="mod">
          <ac:chgData name="Angela Liebana Medina" userId="33f3cdfd-f8b7-498b-b8ec-0f5ed21f0b4a" providerId="ADAL" clId="{94293865-27CB-4CCE-A49E-CBFD52BCCD90}" dt="2022-05-20T10:31:54.590" v="2426" actId="1035"/>
          <ac:cxnSpMkLst>
            <pc:docMk/>
            <pc:sldMk cId="681548050" sldId="2147375840"/>
            <ac:cxnSpMk id="73" creationId="{69F7AC2F-397C-4C59-9A84-35FFC37B8D77}"/>
          </ac:cxnSpMkLst>
        </pc:cxnChg>
      </pc:sldChg>
      <pc:sldChg chg="addSp delSp modSp add del mod">
        <pc:chgData name="Angela Liebana Medina" userId="33f3cdfd-f8b7-498b-b8ec-0f5ed21f0b4a" providerId="ADAL" clId="{94293865-27CB-4CCE-A49E-CBFD52BCCD90}" dt="2022-05-20T10:37:09.341" v="2445" actId="47"/>
        <pc:sldMkLst>
          <pc:docMk/>
          <pc:sldMk cId="967454166" sldId="2147375842"/>
        </pc:sldMkLst>
        <pc:spChg chg="add del mod">
          <ac:chgData name="Angela Liebana Medina" userId="33f3cdfd-f8b7-498b-b8ec-0f5ed21f0b4a" providerId="ADAL" clId="{94293865-27CB-4CCE-A49E-CBFD52BCCD90}" dt="2022-05-20T10:36:24.570" v="2444" actId="478"/>
          <ac:spMkLst>
            <pc:docMk/>
            <pc:sldMk cId="967454166" sldId="2147375842"/>
            <ac:spMk id="6" creationId="{908D4A13-7F7A-493C-98F7-154C28F0E608}"/>
          </ac:spMkLst>
        </pc:spChg>
        <pc:spChg chg="mod">
          <ac:chgData name="Angela Liebana Medina" userId="33f3cdfd-f8b7-498b-b8ec-0f5ed21f0b4a" providerId="ADAL" clId="{94293865-27CB-4CCE-A49E-CBFD52BCCD90}" dt="2022-05-20T10:35:28.153" v="2437" actId="14100"/>
          <ac:spMkLst>
            <pc:docMk/>
            <pc:sldMk cId="967454166" sldId="2147375842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5:55.968" v="2438" actId="14100"/>
          <ac:spMkLst>
            <pc:docMk/>
            <pc:sldMk cId="967454166" sldId="2147375842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5:13.286" v="2433" actId="14100"/>
          <ac:spMkLst>
            <pc:docMk/>
            <pc:sldMk cId="967454166" sldId="2147375842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35:18.987" v="2434" actId="14100"/>
          <ac:spMkLst>
            <pc:docMk/>
            <pc:sldMk cId="967454166" sldId="2147375842"/>
            <ac:spMk id="20" creationId="{00000000-0000-0000-0000-000000000000}"/>
          </ac:spMkLst>
        </pc:spChg>
        <pc:grpChg chg="mod">
          <ac:chgData name="Angela Liebana Medina" userId="33f3cdfd-f8b7-498b-b8ec-0f5ed21f0b4a" providerId="ADAL" clId="{94293865-27CB-4CCE-A49E-CBFD52BCCD90}" dt="2022-05-20T10:35:57.989" v="2440" actId="1076"/>
          <ac:grpSpMkLst>
            <pc:docMk/>
            <pc:sldMk cId="967454166" sldId="2147375842"/>
            <ac:grpSpMk id="32" creationId="{2C2E55E7-A83C-4402-BDDE-6D27AA3C4865}"/>
          </ac:grpSpMkLst>
        </pc:grpChg>
        <pc:picChg chg="mod">
          <ac:chgData name="Angela Liebana Medina" userId="33f3cdfd-f8b7-498b-b8ec-0f5ed21f0b4a" providerId="ADAL" clId="{94293865-27CB-4CCE-A49E-CBFD52BCCD90}" dt="2022-05-20T10:36:02.128" v="2442" actId="1076"/>
          <ac:picMkLst>
            <pc:docMk/>
            <pc:sldMk cId="967454166" sldId="2147375842"/>
            <ac:picMk id="41" creationId="{5C9C252E-3F95-45C9-8FE5-F1B898B01B92}"/>
          </ac:picMkLst>
        </pc:picChg>
      </pc:sldChg>
      <pc:sldChg chg="delSp modSp add del mod">
        <pc:chgData name="Angela Liebana Medina" userId="33f3cdfd-f8b7-498b-b8ec-0f5ed21f0b4a" providerId="ADAL" clId="{94293865-27CB-4CCE-A49E-CBFD52BCCD90}" dt="2022-05-20T10:37:39.240" v="2453" actId="47"/>
        <pc:sldMkLst>
          <pc:docMk/>
          <pc:sldMk cId="1970065243" sldId="2147375842"/>
        </pc:sldMkLst>
        <pc:spChg chg="del">
          <ac:chgData name="Angela Liebana Medina" userId="33f3cdfd-f8b7-498b-b8ec-0f5ed21f0b4a" providerId="ADAL" clId="{94293865-27CB-4CCE-A49E-CBFD52BCCD90}" dt="2022-05-20T10:37:23.578" v="2447" actId="478"/>
          <ac:spMkLst>
            <pc:docMk/>
            <pc:sldMk cId="1970065243" sldId="2147375842"/>
            <ac:spMk id="44" creationId="{484F75DA-37A2-435D-A6CB-8F2EB6097144}"/>
          </ac:spMkLst>
        </pc:spChg>
        <pc:spChg chg="mod">
          <ac:chgData name="Angela Liebana Medina" userId="33f3cdfd-f8b7-498b-b8ec-0f5ed21f0b4a" providerId="ADAL" clId="{94293865-27CB-4CCE-A49E-CBFD52BCCD90}" dt="2022-05-20T10:37:27.907" v="2450" actId="6549"/>
          <ac:spMkLst>
            <pc:docMk/>
            <pc:sldMk cId="1970065243" sldId="2147375842"/>
            <ac:spMk id="75" creationId="{C1865D26-770B-4EA2-8A44-1D67B0CF78C1}"/>
          </ac:spMkLst>
        </pc:spChg>
        <pc:grpChg chg="del">
          <ac:chgData name="Angela Liebana Medina" userId="33f3cdfd-f8b7-498b-b8ec-0f5ed21f0b4a" providerId="ADAL" clId="{94293865-27CB-4CCE-A49E-CBFD52BCCD90}" dt="2022-05-20T10:37:31.059" v="2452" actId="478"/>
          <ac:grpSpMkLst>
            <pc:docMk/>
            <pc:sldMk cId="1970065243" sldId="2147375842"/>
            <ac:grpSpMk id="13" creationId="{DA10DDB9-BFA1-4D3B-B3D9-FD6F1B111C00}"/>
          </ac:grpSpMkLst>
        </pc:grpChg>
        <pc:grpChg chg="del">
          <ac:chgData name="Angela Liebana Medina" userId="33f3cdfd-f8b7-498b-b8ec-0f5ed21f0b4a" providerId="ADAL" clId="{94293865-27CB-4CCE-A49E-CBFD52BCCD90}" dt="2022-05-20T10:37:26.925" v="2449" actId="478"/>
          <ac:grpSpMkLst>
            <pc:docMk/>
            <pc:sldMk cId="1970065243" sldId="2147375842"/>
            <ac:grpSpMk id="32" creationId="{2C2E55E7-A83C-4402-BDDE-6D27AA3C4865}"/>
          </ac:grpSpMkLst>
        </pc:grpChg>
        <pc:grpChg chg="del">
          <ac:chgData name="Angela Liebana Medina" userId="33f3cdfd-f8b7-498b-b8ec-0f5ed21f0b4a" providerId="ADAL" clId="{94293865-27CB-4CCE-A49E-CBFD52BCCD90}" dt="2022-05-20T10:37:25.302" v="2448" actId="478"/>
          <ac:grpSpMkLst>
            <pc:docMk/>
            <pc:sldMk cId="1970065243" sldId="2147375842"/>
            <ac:grpSpMk id="34" creationId="{ACFF064D-DF24-40C8-B486-CE7C36E99965}"/>
          </ac:grpSpMkLst>
        </pc:grpChg>
        <pc:grpChg chg="del">
          <ac:chgData name="Angela Liebana Medina" userId="33f3cdfd-f8b7-498b-b8ec-0f5ed21f0b4a" providerId="ADAL" clId="{94293865-27CB-4CCE-A49E-CBFD52BCCD90}" dt="2022-05-20T10:37:29.227" v="2451" actId="478"/>
          <ac:grpSpMkLst>
            <pc:docMk/>
            <pc:sldMk cId="1970065243" sldId="2147375842"/>
            <ac:grpSpMk id="35" creationId="{2EB2DCF2-B2B4-4D22-ACC7-045FD8C0B3B7}"/>
          </ac:grpSpMkLst>
        </pc:grpChg>
      </pc:sldChg>
      <pc:sldChg chg="addSp delSp modSp add mod">
        <pc:chgData name="Angela Liebana Medina" userId="33f3cdfd-f8b7-498b-b8ec-0f5ed21f0b4a" providerId="ADAL" clId="{94293865-27CB-4CCE-A49E-CBFD52BCCD90}" dt="2022-05-20T10:41:48.769" v="2509" actId="164"/>
        <pc:sldMkLst>
          <pc:docMk/>
          <pc:sldMk cId="3138766580" sldId="2147375842"/>
        </pc:sldMkLst>
        <pc:spChg chg="del">
          <ac:chgData name="Angela Liebana Medina" userId="33f3cdfd-f8b7-498b-b8ec-0f5ed21f0b4a" providerId="ADAL" clId="{94293865-27CB-4CCE-A49E-CBFD52BCCD90}" dt="2022-05-20T10:38:02.550" v="2464" actId="478"/>
          <ac:spMkLst>
            <pc:docMk/>
            <pc:sldMk cId="3138766580" sldId="2147375842"/>
            <ac:spMk id="4" creationId="{444E28E4-126B-4513-8568-8C2A86FD0469}"/>
          </ac:spMkLst>
        </pc:spChg>
        <pc:spChg chg="del">
          <ac:chgData name="Angela Liebana Medina" userId="33f3cdfd-f8b7-498b-b8ec-0f5ed21f0b4a" providerId="ADAL" clId="{94293865-27CB-4CCE-A49E-CBFD52BCCD90}" dt="2022-05-20T10:38:01.088" v="2463" actId="478"/>
          <ac:spMkLst>
            <pc:docMk/>
            <pc:sldMk cId="3138766580" sldId="2147375842"/>
            <ac:spMk id="16" creationId="{7AF0D92A-F739-4416-B3C4-85E986E26B17}"/>
          </ac:spMkLst>
        </pc:spChg>
        <pc:spChg chg="mod topLvl">
          <ac:chgData name="Angela Liebana Medina" userId="33f3cdfd-f8b7-498b-b8ec-0f5ed21f0b4a" providerId="ADAL" clId="{94293865-27CB-4CCE-A49E-CBFD52BCCD90}" dt="2022-05-20T10:41:31.731" v="2506" actId="164"/>
          <ac:spMkLst>
            <pc:docMk/>
            <pc:sldMk cId="3138766580" sldId="2147375842"/>
            <ac:spMk id="17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10:41:31.731" v="2506" actId="164"/>
          <ac:spMkLst>
            <pc:docMk/>
            <pc:sldMk cId="3138766580" sldId="2147375842"/>
            <ac:spMk id="18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10:41:31.731" v="2506" actId="164"/>
          <ac:spMkLst>
            <pc:docMk/>
            <pc:sldMk cId="3138766580" sldId="2147375842"/>
            <ac:spMk id="19" creationId="{00000000-0000-0000-0000-000000000000}"/>
          </ac:spMkLst>
        </pc:spChg>
        <pc:spChg chg="mod topLvl">
          <ac:chgData name="Angela Liebana Medina" userId="33f3cdfd-f8b7-498b-b8ec-0f5ed21f0b4a" providerId="ADAL" clId="{94293865-27CB-4CCE-A49E-CBFD52BCCD90}" dt="2022-05-20T10:41:31.731" v="2506" actId="164"/>
          <ac:spMkLst>
            <pc:docMk/>
            <pc:sldMk cId="3138766580" sldId="2147375842"/>
            <ac:spMk id="20" creationId="{00000000-0000-0000-0000-000000000000}"/>
          </ac:spMkLst>
        </pc:spChg>
        <pc:spChg chg="del">
          <ac:chgData name="Angela Liebana Medina" userId="33f3cdfd-f8b7-498b-b8ec-0f5ed21f0b4a" providerId="ADAL" clId="{94293865-27CB-4CCE-A49E-CBFD52BCCD90}" dt="2022-05-20T10:37:59.725" v="2461" actId="478"/>
          <ac:spMkLst>
            <pc:docMk/>
            <pc:sldMk cId="3138766580" sldId="2147375842"/>
            <ac:spMk id="45" creationId="{AE6D9F9D-EA78-45EB-A329-F1D9F1D0F425}"/>
          </ac:spMkLst>
        </pc:spChg>
        <pc:spChg chg="del">
          <ac:chgData name="Angela Liebana Medina" userId="33f3cdfd-f8b7-498b-b8ec-0f5ed21f0b4a" providerId="ADAL" clId="{94293865-27CB-4CCE-A49E-CBFD52BCCD90}" dt="2022-05-20T10:37:56.761" v="2459" actId="478"/>
          <ac:spMkLst>
            <pc:docMk/>
            <pc:sldMk cId="3138766580" sldId="2147375842"/>
            <ac:spMk id="46" creationId="{389312CD-A726-4792-85B0-5BF2F6526FD5}"/>
          </ac:spMkLst>
        </pc:spChg>
        <pc:spChg chg="del">
          <ac:chgData name="Angela Liebana Medina" userId="33f3cdfd-f8b7-498b-b8ec-0f5ed21f0b4a" providerId="ADAL" clId="{94293865-27CB-4CCE-A49E-CBFD52BCCD90}" dt="2022-05-20T10:37:53.829" v="2457" actId="478"/>
          <ac:spMkLst>
            <pc:docMk/>
            <pc:sldMk cId="3138766580" sldId="2147375842"/>
            <ac:spMk id="56" creationId="{CD5149FC-CB71-4283-86FC-4557416F06BD}"/>
          </ac:spMkLst>
        </pc:spChg>
        <pc:spChg chg="del">
          <ac:chgData name="Angela Liebana Medina" userId="33f3cdfd-f8b7-498b-b8ec-0f5ed21f0b4a" providerId="ADAL" clId="{94293865-27CB-4CCE-A49E-CBFD52BCCD90}" dt="2022-05-20T10:37:51.345" v="2456" actId="478"/>
          <ac:spMkLst>
            <pc:docMk/>
            <pc:sldMk cId="3138766580" sldId="2147375842"/>
            <ac:spMk id="67" creationId="{35A9873B-3972-4077-A047-3036D9A3F019}"/>
          </ac:spMkLst>
        </pc:spChg>
        <pc:spChg chg="del">
          <ac:chgData name="Angela Liebana Medina" userId="33f3cdfd-f8b7-498b-b8ec-0f5ed21f0b4a" providerId="ADAL" clId="{94293865-27CB-4CCE-A49E-CBFD52BCCD90}" dt="2022-05-20T10:38:00.415" v="2462" actId="478"/>
          <ac:spMkLst>
            <pc:docMk/>
            <pc:sldMk cId="3138766580" sldId="2147375842"/>
            <ac:spMk id="76" creationId="{F29AB2D3-43DF-47A0-886F-BBC1362D16F6}"/>
          </ac:spMkLst>
        </pc:spChg>
        <pc:grpChg chg="del mod topLvl">
          <ac:chgData name="Angela Liebana Medina" userId="33f3cdfd-f8b7-498b-b8ec-0f5ed21f0b4a" providerId="ADAL" clId="{94293865-27CB-4CCE-A49E-CBFD52BCCD90}" dt="2022-05-20T10:39:05.418" v="2472" actId="165"/>
          <ac:grpSpMkLst>
            <pc:docMk/>
            <pc:sldMk cId="3138766580" sldId="2147375842"/>
            <ac:grpSpMk id="2" creationId="{5D736DE2-7694-4004-9DEA-2391CED91C8F}"/>
          </ac:grpSpMkLst>
        </pc:grpChg>
        <pc:grpChg chg="del mod topLvl">
          <ac:chgData name="Angela Liebana Medina" userId="33f3cdfd-f8b7-498b-b8ec-0f5ed21f0b4a" providerId="ADAL" clId="{94293865-27CB-4CCE-A49E-CBFD52BCCD90}" dt="2022-05-20T10:38:51.304" v="2469" actId="165"/>
          <ac:grpSpMkLst>
            <pc:docMk/>
            <pc:sldMk cId="3138766580" sldId="2147375842"/>
            <ac:grpSpMk id="5" creationId="{D0BCE8B9-055E-49D6-8086-C797AF92AF04}"/>
          </ac:grpSpMkLst>
        </pc:grpChg>
        <pc:grpChg chg="add mod">
          <ac:chgData name="Angela Liebana Medina" userId="33f3cdfd-f8b7-498b-b8ec-0f5ed21f0b4a" providerId="ADAL" clId="{94293865-27CB-4CCE-A49E-CBFD52BCCD90}" dt="2022-05-20T10:41:48.769" v="2509" actId="164"/>
          <ac:grpSpMkLst>
            <pc:docMk/>
            <pc:sldMk cId="3138766580" sldId="2147375842"/>
            <ac:grpSpMk id="6" creationId="{3D980B4F-BB66-4A8C-9669-7EEBF04F725A}"/>
          </ac:grpSpMkLst>
        </pc:grpChg>
        <pc:grpChg chg="add mod">
          <ac:chgData name="Angela Liebana Medina" userId="33f3cdfd-f8b7-498b-b8ec-0f5ed21f0b4a" providerId="ADAL" clId="{94293865-27CB-4CCE-A49E-CBFD52BCCD90}" dt="2022-05-20T10:41:31.731" v="2506" actId="164"/>
          <ac:grpSpMkLst>
            <pc:docMk/>
            <pc:sldMk cId="3138766580" sldId="2147375842"/>
            <ac:grpSpMk id="7" creationId="{BE8CEF52-008E-4E05-BFB7-DEE5B43AF2A9}"/>
          </ac:grpSpMkLst>
        </pc:grpChg>
        <pc:grpChg chg="add mod">
          <ac:chgData name="Angela Liebana Medina" userId="33f3cdfd-f8b7-498b-b8ec-0f5ed21f0b4a" providerId="ADAL" clId="{94293865-27CB-4CCE-A49E-CBFD52BCCD90}" dt="2022-05-20T10:41:48.769" v="2509" actId="164"/>
          <ac:grpSpMkLst>
            <pc:docMk/>
            <pc:sldMk cId="3138766580" sldId="2147375842"/>
            <ac:grpSpMk id="9" creationId="{224D5B98-879D-49BF-9A95-41B2D943D335}"/>
          </ac:grpSpMkLst>
        </pc:grpChg>
        <pc:grpChg chg="del mod topLvl">
          <ac:chgData name="Angela Liebana Medina" userId="33f3cdfd-f8b7-498b-b8ec-0f5ed21f0b4a" providerId="ADAL" clId="{94293865-27CB-4CCE-A49E-CBFD52BCCD90}" dt="2022-05-20T10:38:48.399" v="2468" actId="165"/>
          <ac:grpSpMkLst>
            <pc:docMk/>
            <pc:sldMk cId="3138766580" sldId="2147375842"/>
            <ac:grpSpMk id="12" creationId="{C5C8D1B5-4578-46EB-BB8D-D53A30164640}"/>
          </ac:grpSpMkLst>
        </pc:grpChg>
        <pc:grpChg chg="del">
          <ac:chgData name="Angela Liebana Medina" userId="33f3cdfd-f8b7-498b-b8ec-0f5ed21f0b4a" providerId="ADAL" clId="{94293865-27CB-4CCE-A49E-CBFD52BCCD90}" dt="2022-05-20T10:38:38.237" v="2465" actId="165"/>
          <ac:grpSpMkLst>
            <pc:docMk/>
            <pc:sldMk cId="3138766580" sldId="2147375842"/>
            <ac:grpSpMk id="13" creationId="{DA10DDB9-BFA1-4D3B-B3D9-FD6F1B111C00}"/>
          </ac:grpSpMkLst>
        </pc:grpChg>
        <pc:grpChg chg="del mod topLvl">
          <ac:chgData name="Angela Liebana Medina" userId="33f3cdfd-f8b7-498b-b8ec-0f5ed21f0b4a" providerId="ADAL" clId="{94293865-27CB-4CCE-A49E-CBFD52BCCD90}" dt="2022-05-20T10:38:45.733" v="2467" actId="165"/>
          <ac:grpSpMkLst>
            <pc:docMk/>
            <pc:sldMk cId="3138766580" sldId="2147375842"/>
            <ac:grpSpMk id="14" creationId="{FBEE5CF9-2D36-4264-8FA2-D53DF3A6AB2B}"/>
          </ac:grpSpMkLst>
        </pc:grpChg>
        <pc:grpChg chg="del mod topLvl">
          <ac:chgData name="Angela Liebana Medina" userId="33f3cdfd-f8b7-498b-b8ec-0f5ed21f0b4a" providerId="ADAL" clId="{94293865-27CB-4CCE-A49E-CBFD52BCCD90}" dt="2022-05-20T10:38:42.306" v="2466" actId="165"/>
          <ac:grpSpMkLst>
            <pc:docMk/>
            <pc:sldMk cId="3138766580" sldId="2147375842"/>
            <ac:grpSpMk id="15" creationId="{6437F1D1-D2D7-4954-B3B5-955D942F93B7}"/>
          </ac:grpSpMkLst>
        </pc:grpChg>
        <pc:grpChg chg="del">
          <ac:chgData name="Angela Liebana Medina" userId="33f3cdfd-f8b7-498b-b8ec-0f5ed21f0b4a" providerId="ADAL" clId="{94293865-27CB-4CCE-A49E-CBFD52BCCD90}" dt="2022-05-20T10:37:54.993" v="2458" actId="478"/>
          <ac:grpSpMkLst>
            <pc:docMk/>
            <pc:sldMk cId="3138766580" sldId="2147375842"/>
            <ac:grpSpMk id="32" creationId="{2C2E55E7-A83C-4402-BDDE-6D27AA3C4865}"/>
          </ac:grpSpMkLst>
        </pc:grpChg>
        <pc:grpChg chg="del">
          <ac:chgData name="Angela Liebana Medina" userId="33f3cdfd-f8b7-498b-b8ec-0f5ed21f0b4a" providerId="ADAL" clId="{94293865-27CB-4CCE-A49E-CBFD52BCCD90}" dt="2022-05-20T10:37:48.377" v="2455" actId="478"/>
          <ac:grpSpMkLst>
            <pc:docMk/>
            <pc:sldMk cId="3138766580" sldId="2147375842"/>
            <ac:grpSpMk id="34" creationId="{ACFF064D-DF24-40C8-B486-CE7C36E99965}"/>
          </ac:grpSpMkLst>
        </pc:grpChg>
        <pc:grpChg chg="del">
          <ac:chgData name="Angela Liebana Medina" userId="33f3cdfd-f8b7-498b-b8ec-0f5ed21f0b4a" providerId="ADAL" clId="{94293865-27CB-4CCE-A49E-CBFD52BCCD90}" dt="2022-05-20T10:37:58.005" v="2460" actId="478"/>
          <ac:grpSpMkLst>
            <pc:docMk/>
            <pc:sldMk cId="3138766580" sldId="2147375842"/>
            <ac:grpSpMk id="35" creationId="{2EB2DCF2-B2B4-4D22-ACC7-045FD8C0B3B7}"/>
          </ac:grpSpMkLst>
        </pc:grpChg>
        <pc:picChg chg="mod topLvl">
          <ac:chgData name="Angela Liebana Medina" userId="33f3cdfd-f8b7-498b-b8ec-0f5ed21f0b4a" providerId="ADAL" clId="{94293865-27CB-4CCE-A49E-CBFD52BCCD90}" dt="2022-05-20T10:41:48.769" v="2509" actId="164"/>
          <ac:picMkLst>
            <pc:docMk/>
            <pc:sldMk cId="3138766580" sldId="2147375842"/>
            <ac:picMk id="23" creationId="{FB1450C6-98C3-476B-8FFF-E20306A40EC5}"/>
          </ac:picMkLst>
        </pc:picChg>
        <pc:picChg chg="add mod">
          <ac:chgData name="Angela Liebana Medina" userId="33f3cdfd-f8b7-498b-b8ec-0f5ed21f0b4a" providerId="ADAL" clId="{94293865-27CB-4CCE-A49E-CBFD52BCCD90}" dt="2022-05-20T10:41:32.624" v="2507" actId="571"/>
          <ac:picMkLst>
            <pc:docMk/>
            <pc:sldMk cId="3138766580" sldId="2147375842"/>
            <ac:picMk id="50" creationId="{628D8ACC-12E8-494E-A9B8-6DDADF7D9B85}"/>
          </ac:picMkLst>
        </pc:picChg>
        <pc:cxnChg chg="mod topLvl">
          <ac:chgData name="Angela Liebana Medina" userId="33f3cdfd-f8b7-498b-b8ec-0f5ed21f0b4a" providerId="ADAL" clId="{94293865-27CB-4CCE-A49E-CBFD52BCCD90}" dt="2022-05-20T10:38:38.237" v="2465" actId="165"/>
          <ac:cxnSpMkLst>
            <pc:docMk/>
            <pc:sldMk cId="3138766580" sldId="2147375842"/>
            <ac:cxnSpMk id="21" creationId="{00000000-0000-0000-0000-000000000000}"/>
          </ac:cxnSpMkLst>
        </pc:cxnChg>
        <pc:cxnChg chg="mod topLvl">
          <ac:chgData name="Angela Liebana Medina" userId="33f3cdfd-f8b7-498b-b8ec-0f5ed21f0b4a" providerId="ADAL" clId="{94293865-27CB-4CCE-A49E-CBFD52BCCD90}" dt="2022-05-20T10:38:42.306" v="2466" actId="165"/>
          <ac:cxnSpMkLst>
            <pc:docMk/>
            <pc:sldMk cId="3138766580" sldId="2147375842"/>
            <ac:cxnSpMk id="22" creationId="{00000000-0000-0000-0000-000000000000}"/>
          </ac:cxnSpMkLst>
        </pc:cxnChg>
        <pc:cxnChg chg="mod topLvl">
          <ac:chgData name="Angela Liebana Medina" userId="33f3cdfd-f8b7-498b-b8ec-0f5ed21f0b4a" providerId="ADAL" clId="{94293865-27CB-4CCE-A49E-CBFD52BCCD90}" dt="2022-05-20T10:38:42.306" v="2466" actId="165"/>
          <ac:cxnSpMkLst>
            <pc:docMk/>
            <pc:sldMk cId="3138766580" sldId="2147375842"/>
            <ac:cxnSpMk id="27" creationId="{E1ADCD76-C12D-4FFB-9565-9F8A357B935D}"/>
          </ac:cxnSpMkLst>
        </pc:cxnChg>
        <pc:cxnChg chg="mod topLvl">
          <ac:chgData name="Angela Liebana Medina" userId="33f3cdfd-f8b7-498b-b8ec-0f5ed21f0b4a" providerId="ADAL" clId="{94293865-27CB-4CCE-A49E-CBFD52BCCD90}" dt="2022-05-20T10:38:38.237" v="2465" actId="165"/>
          <ac:cxnSpMkLst>
            <pc:docMk/>
            <pc:sldMk cId="3138766580" sldId="2147375842"/>
            <ac:cxnSpMk id="73" creationId="{69F7AC2F-397C-4C59-9A84-35FFC37B8D77}"/>
          </ac:cxnSpMkLst>
        </pc:cxnChg>
      </pc:sldChg>
      <pc:sldChg chg="addSp delSp modSp add mod ord">
        <pc:chgData name="Angela Liebana Medina" userId="33f3cdfd-f8b7-498b-b8ec-0f5ed21f0b4a" providerId="ADAL" clId="{94293865-27CB-4CCE-A49E-CBFD52BCCD90}" dt="2022-05-20T11:28:40.810" v="3019" actId="1076"/>
        <pc:sldMkLst>
          <pc:docMk/>
          <pc:sldMk cId="1425481955" sldId="2147375843"/>
        </pc:sldMkLst>
        <pc:spChg chg="mod ord">
          <ac:chgData name="Angela Liebana Medina" userId="33f3cdfd-f8b7-498b-b8ec-0f5ed21f0b4a" providerId="ADAL" clId="{94293865-27CB-4CCE-A49E-CBFD52BCCD90}" dt="2022-05-20T10:44:43.896" v="2774"/>
          <ac:spMkLst>
            <pc:docMk/>
            <pc:sldMk cId="1425481955" sldId="2147375843"/>
            <ac:spMk id="4" creationId="{444E28E4-126B-4513-8568-8C2A86FD0469}"/>
          </ac:spMkLst>
        </pc:spChg>
        <pc:spChg chg="add del mod modVis">
          <ac:chgData name="Angela Liebana Medina" userId="33f3cdfd-f8b7-498b-b8ec-0f5ed21f0b4a" providerId="ADAL" clId="{94293865-27CB-4CCE-A49E-CBFD52BCCD90}" dt="2022-05-20T10:42:48.947" v="2579"/>
          <ac:spMkLst>
            <pc:docMk/>
            <pc:sldMk cId="1425481955" sldId="2147375843"/>
            <ac:spMk id="6" creationId="{34BAC55A-C3F5-4290-B79A-980B690DC43F}"/>
          </ac:spMkLst>
        </pc:spChg>
        <pc:spChg chg="mod ord">
          <ac:chgData name="Angela Liebana Medina" userId="33f3cdfd-f8b7-498b-b8ec-0f5ed21f0b4a" providerId="ADAL" clId="{94293865-27CB-4CCE-A49E-CBFD52BCCD90}" dt="2022-05-20T10:44:43.901" v="2784"/>
          <ac:spMkLst>
            <pc:docMk/>
            <pc:sldMk cId="1425481955" sldId="2147375843"/>
            <ac:spMk id="8" creationId="{EF111281-EBC1-45F5-A61A-127302E518D7}"/>
          </ac:spMkLst>
        </pc:spChg>
        <pc:spChg chg="mod ord">
          <ac:chgData name="Angela Liebana Medina" userId="33f3cdfd-f8b7-498b-b8ec-0f5ed21f0b4a" providerId="ADAL" clId="{94293865-27CB-4CCE-A49E-CBFD52BCCD90}" dt="2022-05-20T10:44:43.899" v="2780"/>
          <ac:spMkLst>
            <pc:docMk/>
            <pc:sldMk cId="1425481955" sldId="2147375843"/>
            <ac:spMk id="16" creationId="{7AF0D92A-F739-4416-B3C4-85E986E26B17}"/>
          </ac:spMkLst>
        </pc:spChg>
        <pc:spChg chg="mod">
          <ac:chgData name="Angela Liebana Medina" userId="33f3cdfd-f8b7-498b-b8ec-0f5ed21f0b4a" providerId="ADAL" clId="{94293865-27CB-4CCE-A49E-CBFD52BCCD90}" dt="2022-05-20T10:42:05.860" v="2511" actId="165"/>
          <ac:spMkLst>
            <pc:docMk/>
            <pc:sldMk cId="1425481955" sldId="2147375843"/>
            <ac:spMk id="17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42:05.860" v="2511" actId="165"/>
          <ac:spMkLst>
            <pc:docMk/>
            <pc:sldMk cId="1425481955" sldId="2147375843"/>
            <ac:spMk id="18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42:05.860" v="2511" actId="165"/>
          <ac:spMkLst>
            <pc:docMk/>
            <pc:sldMk cId="1425481955" sldId="2147375843"/>
            <ac:spMk id="19" creationId="{00000000-0000-0000-0000-000000000000}"/>
          </ac:spMkLst>
        </pc:spChg>
        <pc:spChg chg="mod">
          <ac:chgData name="Angela Liebana Medina" userId="33f3cdfd-f8b7-498b-b8ec-0f5ed21f0b4a" providerId="ADAL" clId="{94293865-27CB-4CCE-A49E-CBFD52BCCD90}" dt="2022-05-20T10:42:05.860" v="2511" actId="165"/>
          <ac:spMkLst>
            <pc:docMk/>
            <pc:sldMk cId="1425481955" sldId="2147375843"/>
            <ac:spMk id="20" creationId="{00000000-0000-0000-0000-000000000000}"/>
          </ac:spMkLst>
        </pc:spChg>
        <pc:spChg chg="add del mod modVis">
          <ac:chgData name="Angela Liebana Medina" userId="33f3cdfd-f8b7-498b-b8ec-0f5ed21f0b4a" providerId="ADAL" clId="{94293865-27CB-4CCE-A49E-CBFD52BCCD90}" dt="2022-05-20T10:44:43.912" v="2803"/>
          <ac:spMkLst>
            <pc:docMk/>
            <pc:sldMk cId="1425481955" sldId="2147375843"/>
            <ac:spMk id="26" creationId="{137FA19F-ADDC-4EC0-8D17-A27107474CC9}"/>
          </ac:spMkLst>
        </pc:spChg>
        <pc:spChg chg="mod ord">
          <ac:chgData name="Angela Liebana Medina" userId="33f3cdfd-f8b7-498b-b8ec-0f5ed21f0b4a" providerId="ADAL" clId="{94293865-27CB-4CCE-A49E-CBFD52BCCD90}" dt="2022-05-20T10:44:43.902" v="2786"/>
          <ac:spMkLst>
            <pc:docMk/>
            <pc:sldMk cId="1425481955" sldId="2147375843"/>
            <ac:spMk id="39" creationId="{D022CD94-B6A3-40C7-940A-88A504441EE5}"/>
          </ac:spMkLst>
        </pc:spChg>
        <pc:spChg chg="add mod">
          <ac:chgData name="Angela Liebana Medina" userId="33f3cdfd-f8b7-498b-b8ec-0f5ed21f0b4a" providerId="ADAL" clId="{94293865-27CB-4CCE-A49E-CBFD52BCCD90}" dt="2022-05-20T11:28:31.168" v="3018" actId="571"/>
          <ac:spMkLst>
            <pc:docMk/>
            <pc:sldMk cId="1425481955" sldId="2147375843"/>
            <ac:spMk id="42" creationId="{A1A3279F-DF1F-4F4C-BBDB-8B1361C20E7C}"/>
          </ac:spMkLst>
        </pc:spChg>
        <pc:spChg chg="mod ord">
          <ac:chgData name="Angela Liebana Medina" userId="33f3cdfd-f8b7-498b-b8ec-0f5ed21f0b4a" providerId="ADAL" clId="{94293865-27CB-4CCE-A49E-CBFD52BCCD90}" dt="2022-05-20T10:44:43.900" v="2782"/>
          <ac:spMkLst>
            <pc:docMk/>
            <pc:sldMk cId="1425481955" sldId="2147375843"/>
            <ac:spMk id="45" creationId="{AE6D9F9D-EA78-45EB-A329-F1D9F1D0F425}"/>
          </ac:spMkLst>
        </pc:spChg>
        <pc:spChg chg="mod">
          <ac:chgData name="Angela Liebana Medina" userId="33f3cdfd-f8b7-498b-b8ec-0f5ed21f0b4a" providerId="ADAL" clId="{94293865-27CB-4CCE-A49E-CBFD52BCCD90}" dt="2022-05-20T11:27:21.964" v="2985" actId="1035"/>
          <ac:spMkLst>
            <pc:docMk/>
            <pc:sldMk cId="1425481955" sldId="2147375843"/>
            <ac:spMk id="52" creationId="{7EBDBDCF-7B86-43FB-8E93-FA13A8F9A9EC}"/>
          </ac:spMkLst>
        </pc:spChg>
        <pc:spChg chg="mod">
          <ac:chgData name="Angela Liebana Medina" userId="33f3cdfd-f8b7-498b-b8ec-0f5ed21f0b4a" providerId="ADAL" clId="{94293865-27CB-4CCE-A49E-CBFD52BCCD90}" dt="2022-05-20T11:27:21.964" v="2985" actId="1035"/>
          <ac:spMkLst>
            <pc:docMk/>
            <pc:sldMk cId="1425481955" sldId="2147375843"/>
            <ac:spMk id="55" creationId="{0804FA1A-8A01-4C33-8F7E-B5887C6E318E}"/>
          </ac:spMkLst>
        </pc:spChg>
        <pc:spChg chg="mod">
          <ac:chgData name="Angela Liebana Medina" userId="33f3cdfd-f8b7-498b-b8ec-0f5ed21f0b4a" providerId="ADAL" clId="{94293865-27CB-4CCE-A49E-CBFD52BCCD90}" dt="2022-05-20T11:26:12.948" v="2953" actId="1076"/>
          <ac:spMkLst>
            <pc:docMk/>
            <pc:sldMk cId="1425481955" sldId="2147375843"/>
            <ac:spMk id="56" creationId="{CD5149FC-CB71-4283-86FC-4557416F06BD}"/>
          </ac:spMkLst>
        </pc:spChg>
        <pc:spChg chg="mod">
          <ac:chgData name="Angela Liebana Medina" userId="33f3cdfd-f8b7-498b-b8ec-0f5ed21f0b4a" providerId="ADAL" clId="{94293865-27CB-4CCE-A49E-CBFD52BCCD90}" dt="2022-05-20T11:27:21.964" v="2985" actId="1035"/>
          <ac:spMkLst>
            <pc:docMk/>
            <pc:sldMk cId="1425481955" sldId="2147375843"/>
            <ac:spMk id="59" creationId="{2F006BFA-5CF1-4976-9E5C-9D154E998A58}"/>
          </ac:spMkLst>
        </pc:spChg>
        <pc:spChg chg="mod">
          <ac:chgData name="Angela Liebana Medina" userId="33f3cdfd-f8b7-498b-b8ec-0f5ed21f0b4a" providerId="ADAL" clId="{94293865-27CB-4CCE-A49E-CBFD52BCCD90}" dt="2022-05-20T11:27:21.964" v="2985" actId="1035"/>
          <ac:spMkLst>
            <pc:docMk/>
            <pc:sldMk cId="1425481955" sldId="2147375843"/>
            <ac:spMk id="60" creationId="{EC436EA5-5DCF-4AC4-B284-30B8F8F972E5}"/>
          </ac:spMkLst>
        </pc:spChg>
        <pc:spChg chg="mod ord">
          <ac:chgData name="Angela Liebana Medina" userId="33f3cdfd-f8b7-498b-b8ec-0f5ed21f0b4a" providerId="ADAL" clId="{94293865-27CB-4CCE-A49E-CBFD52BCCD90}" dt="2022-05-20T10:44:43.905" v="2790"/>
          <ac:spMkLst>
            <pc:docMk/>
            <pc:sldMk cId="1425481955" sldId="2147375843"/>
            <ac:spMk id="76" creationId="{F29AB2D3-43DF-47A0-886F-BBC1362D16F6}"/>
          </ac:spMkLst>
        </pc:spChg>
        <pc:grpChg chg="mod">
          <ac:chgData name="Angela Liebana Medina" userId="33f3cdfd-f8b7-498b-b8ec-0f5ed21f0b4a" providerId="ADAL" clId="{94293865-27CB-4CCE-A49E-CBFD52BCCD90}" dt="2022-05-20T10:42:05.860" v="2511" actId="165"/>
          <ac:grpSpMkLst>
            <pc:docMk/>
            <pc:sldMk cId="1425481955" sldId="2147375843"/>
            <ac:grpSpMk id="2" creationId="{5D736DE2-7694-4004-9DEA-2391CED91C8F}"/>
          </ac:grpSpMkLst>
        </pc:grpChg>
        <pc:grpChg chg="mod">
          <ac:chgData name="Angela Liebana Medina" userId="33f3cdfd-f8b7-498b-b8ec-0f5ed21f0b4a" providerId="ADAL" clId="{94293865-27CB-4CCE-A49E-CBFD52BCCD90}" dt="2022-05-20T10:42:05.860" v="2511" actId="165"/>
          <ac:grpSpMkLst>
            <pc:docMk/>
            <pc:sldMk cId="1425481955" sldId="2147375843"/>
            <ac:grpSpMk id="5" creationId="{D0BCE8B9-055E-49D6-8086-C797AF92AF04}"/>
          </ac:grpSpMkLst>
        </pc:grpChg>
        <pc:grpChg chg="mod">
          <ac:chgData name="Angela Liebana Medina" userId="33f3cdfd-f8b7-498b-b8ec-0f5ed21f0b4a" providerId="ADAL" clId="{94293865-27CB-4CCE-A49E-CBFD52BCCD90}" dt="2022-05-20T10:42:05.860" v="2511" actId="165"/>
          <ac:grpSpMkLst>
            <pc:docMk/>
            <pc:sldMk cId="1425481955" sldId="2147375843"/>
            <ac:grpSpMk id="12" creationId="{C5C8D1B5-4578-46EB-BB8D-D53A30164640}"/>
          </ac:grpSpMkLst>
        </pc:grpChg>
        <pc:grpChg chg="del">
          <ac:chgData name="Angela Liebana Medina" userId="33f3cdfd-f8b7-498b-b8ec-0f5ed21f0b4a" providerId="ADAL" clId="{94293865-27CB-4CCE-A49E-CBFD52BCCD90}" dt="2022-05-20T10:42:05.860" v="2511" actId="165"/>
          <ac:grpSpMkLst>
            <pc:docMk/>
            <pc:sldMk cId="1425481955" sldId="2147375843"/>
            <ac:grpSpMk id="13" creationId="{DA10DDB9-BFA1-4D3B-B3D9-FD6F1B111C00}"/>
          </ac:grpSpMkLst>
        </pc:grpChg>
        <pc:grpChg chg="mod">
          <ac:chgData name="Angela Liebana Medina" userId="33f3cdfd-f8b7-498b-b8ec-0f5ed21f0b4a" providerId="ADAL" clId="{94293865-27CB-4CCE-A49E-CBFD52BCCD90}" dt="2022-05-20T10:42:05.860" v="2511" actId="165"/>
          <ac:grpSpMkLst>
            <pc:docMk/>
            <pc:sldMk cId="1425481955" sldId="2147375843"/>
            <ac:grpSpMk id="14" creationId="{FBEE5CF9-2D36-4264-8FA2-D53DF3A6AB2B}"/>
          </ac:grpSpMkLst>
        </pc:grpChg>
        <pc:grpChg chg="del mod topLvl">
          <ac:chgData name="Angela Liebana Medina" userId="33f3cdfd-f8b7-498b-b8ec-0f5ed21f0b4a" providerId="ADAL" clId="{94293865-27CB-4CCE-A49E-CBFD52BCCD90}" dt="2022-05-20T10:42:11.123" v="2512" actId="478"/>
          <ac:grpSpMkLst>
            <pc:docMk/>
            <pc:sldMk cId="1425481955" sldId="2147375843"/>
            <ac:grpSpMk id="15" creationId="{6437F1D1-D2D7-4954-B3B5-955D942F93B7}"/>
          </ac:grpSpMkLst>
        </pc:grpChg>
        <pc:grpChg chg="add mod">
          <ac:chgData name="Angela Liebana Medina" userId="33f3cdfd-f8b7-498b-b8ec-0f5ed21f0b4a" providerId="ADAL" clId="{94293865-27CB-4CCE-A49E-CBFD52BCCD90}" dt="2022-05-20T11:27:21.964" v="2985" actId="1035"/>
          <ac:grpSpMkLst>
            <pc:docMk/>
            <pc:sldMk cId="1425481955" sldId="2147375843"/>
            <ac:grpSpMk id="28" creationId="{EBBE3F14-A47C-42B2-B552-8628A1A7E269}"/>
          </ac:grpSpMkLst>
        </pc:grpChg>
        <pc:grpChg chg="mod ord">
          <ac:chgData name="Angela Liebana Medina" userId="33f3cdfd-f8b7-498b-b8ec-0f5ed21f0b4a" providerId="ADAL" clId="{94293865-27CB-4CCE-A49E-CBFD52BCCD90}" dt="2022-05-20T10:44:43.906" v="2792"/>
          <ac:grpSpMkLst>
            <pc:docMk/>
            <pc:sldMk cId="1425481955" sldId="2147375843"/>
            <ac:grpSpMk id="32" creationId="{2C2E55E7-A83C-4402-BDDE-6D27AA3C4865}"/>
          </ac:grpSpMkLst>
        </pc:grpChg>
        <pc:grpChg chg="mod ord">
          <ac:chgData name="Angela Liebana Medina" userId="33f3cdfd-f8b7-498b-b8ec-0f5ed21f0b4a" providerId="ADAL" clId="{94293865-27CB-4CCE-A49E-CBFD52BCCD90}" dt="2022-05-20T10:46:32.932" v="2843" actId="1037"/>
          <ac:grpSpMkLst>
            <pc:docMk/>
            <pc:sldMk cId="1425481955" sldId="2147375843"/>
            <ac:grpSpMk id="34" creationId="{ACFF064D-DF24-40C8-B486-CE7C36E99965}"/>
          </ac:grpSpMkLst>
        </pc:grpChg>
        <pc:grpChg chg="mod ord">
          <ac:chgData name="Angela Liebana Medina" userId="33f3cdfd-f8b7-498b-b8ec-0f5ed21f0b4a" providerId="ADAL" clId="{94293865-27CB-4CCE-A49E-CBFD52BCCD90}" dt="2022-05-20T10:44:43.908" v="2796"/>
          <ac:grpSpMkLst>
            <pc:docMk/>
            <pc:sldMk cId="1425481955" sldId="2147375843"/>
            <ac:grpSpMk id="35" creationId="{2EB2DCF2-B2B4-4D22-ACC7-045FD8C0B3B7}"/>
          </ac:grpSpMkLst>
        </pc:grpChg>
        <pc:grpChg chg="add mod">
          <ac:chgData name="Angela Liebana Medina" userId="33f3cdfd-f8b7-498b-b8ec-0f5ed21f0b4a" providerId="ADAL" clId="{94293865-27CB-4CCE-A49E-CBFD52BCCD90}" dt="2022-05-20T11:27:21.964" v="2985" actId="1035"/>
          <ac:grpSpMkLst>
            <pc:docMk/>
            <pc:sldMk cId="1425481955" sldId="2147375843"/>
            <ac:grpSpMk id="43" creationId="{82748450-3D9C-4A5A-8418-5495BEA99801}"/>
          </ac:grpSpMkLst>
        </pc:grpChg>
        <pc:grpChg chg="mod">
          <ac:chgData name="Angela Liebana Medina" userId="33f3cdfd-f8b7-498b-b8ec-0f5ed21f0b4a" providerId="ADAL" clId="{94293865-27CB-4CCE-A49E-CBFD52BCCD90}" dt="2022-05-20T11:27:21.964" v="2985" actId="1035"/>
          <ac:grpSpMkLst>
            <pc:docMk/>
            <pc:sldMk cId="1425481955" sldId="2147375843"/>
            <ac:grpSpMk id="50" creationId="{F5BAB86E-24ED-4A8D-A059-6E440EE59DC0}"/>
          </ac:grpSpMkLst>
        </pc:grpChg>
        <pc:graphicFrameChg chg="mod">
          <ac:chgData name="Angela Liebana Medina" userId="33f3cdfd-f8b7-498b-b8ec-0f5ed21f0b4a" providerId="ADAL" clId="{94293865-27CB-4CCE-A49E-CBFD52BCCD90}" dt="2022-05-20T10:44:43.917" v="2805"/>
          <ac:graphicFrameMkLst>
            <pc:docMk/>
            <pc:sldMk cId="1425481955" sldId="2147375843"/>
            <ac:graphicFrameMk id="3" creationId="{B706D322-D65F-4AA1-86D8-5989EFDC71B9}"/>
          </ac:graphicFrameMkLst>
        </pc:graphicFrameChg>
        <pc:picChg chg="mod">
          <ac:chgData name="Angela Liebana Medina" userId="33f3cdfd-f8b7-498b-b8ec-0f5ed21f0b4a" providerId="ADAL" clId="{94293865-27CB-4CCE-A49E-CBFD52BCCD90}" dt="2022-05-20T10:42:05.860" v="2511" actId="165"/>
          <ac:picMkLst>
            <pc:docMk/>
            <pc:sldMk cId="1425481955" sldId="2147375843"/>
            <ac:picMk id="23" creationId="{FB1450C6-98C3-476B-8FFF-E20306A40EC5}"/>
          </ac:picMkLst>
        </pc:picChg>
        <pc:picChg chg="mod">
          <ac:chgData name="Angela Liebana Medina" userId="33f3cdfd-f8b7-498b-b8ec-0f5ed21f0b4a" providerId="ADAL" clId="{94293865-27CB-4CCE-A49E-CBFD52BCCD90}" dt="2022-05-20T11:27:21.964" v="2985" actId="1035"/>
          <ac:picMkLst>
            <pc:docMk/>
            <pc:sldMk cId="1425481955" sldId="2147375843"/>
            <ac:picMk id="51" creationId="{00B31476-295E-475A-89E9-1C0166EC88A6}"/>
          </ac:picMkLst>
        </pc:picChg>
        <pc:picChg chg="mod">
          <ac:chgData name="Angela Liebana Medina" userId="33f3cdfd-f8b7-498b-b8ec-0f5ed21f0b4a" providerId="ADAL" clId="{94293865-27CB-4CCE-A49E-CBFD52BCCD90}" dt="2022-05-20T11:25:59.666" v="2950" actId="1076"/>
          <ac:picMkLst>
            <pc:docMk/>
            <pc:sldMk cId="1425481955" sldId="2147375843"/>
            <ac:picMk id="57" creationId="{B3149FF4-90B6-49FF-ADAB-04FDE871A863}"/>
          </ac:picMkLst>
        </pc:picChg>
        <pc:picChg chg="mod">
          <ac:chgData name="Angela Liebana Medina" userId="33f3cdfd-f8b7-498b-b8ec-0f5ed21f0b4a" providerId="ADAL" clId="{94293865-27CB-4CCE-A49E-CBFD52BCCD90}" dt="2022-05-20T11:26:22.075" v="2954" actId="1076"/>
          <ac:picMkLst>
            <pc:docMk/>
            <pc:sldMk cId="1425481955" sldId="2147375843"/>
            <ac:picMk id="72" creationId="{53BED147-9A35-4EF3-B42F-6BAAD139C376}"/>
          </ac:picMkLst>
        </pc:picChg>
        <pc:cxnChg chg="del mod topLvl">
          <ac:chgData name="Angela Liebana Medina" userId="33f3cdfd-f8b7-498b-b8ec-0f5ed21f0b4a" providerId="ADAL" clId="{94293865-27CB-4CCE-A49E-CBFD52BCCD90}" dt="2022-05-20T10:42:11.123" v="2512" actId="478"/>
          <ac:cxnSpMkLst>
            <pc:docMk/>
            <pc:sldMk cId="1425481955" sldId="2147375843"/>
            <ac:cxnSpMk id="21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42:05.860" v="2511" actId="165"/>
          <ac:cxnSpMkLst>
            <pc:docMk/>
            <pc:sldMk cId="1425481955" sldId="2147375843"/>
            <ac:cxnSpMk id="22" creationId="{00000000-0000-0000-0000-000000000000}"/>
          </ac:cxnSpMkLst>
        </pc:cxnChg>
        <pc:cxnChg chg="mod">
          <ac:chgData name="Angela Liebana Medina" userId="33f3cdfd-f8b7-498b-b8ec-0f5ed21f0b4a" providerId="ADAL" clId="{94293865-27CB-4CCE-A49E-CBFD52BCCD90}" dt="2022-05-20T10:42:05.860" v="2511" actId="165"/>
          <ac:cxnSpMkLst>
            <pc:docMk/>
            <pc:sldMk cId="1425481955" sldId="2147375843"/>
            <ac:cxnSpMk id="27" creationId="{E1ADCD76-C12D-4FFB-9565-9F8A357B935D}"/>
          </ac:cxnSpMkLst>
        </pc:cxnChg>
        <pc:cxnChg chg="mod ord">
          <ac:chgData name="Angela Liebana Medina" userId="33f3cdfd-f8b7-498b-b8ec-0f5ed21f0b4a" providerId="ADAL" clId="{94293865-27CB-4CCE-A49E-CBFD52BCCD90}" dt="2022-05-20T10:44:43.904" v="2788"/>
          <ac:cxnSpMkLst>
            <pc:docMk/>
            <pc:sldMk cId="1425481955" sldId="2147375843"/>
            <ac:cxnSpMk id="48" creationId="{CA4A3689-DBE2-40CF-B5F3-2F5A7EF17177}"/>
          </ac:cxnSpMkLst>
        </pc:cxnChg>
        <pc:cxnChg chg="add mod ord">
          <ac:chgData name="Angela Liebana Medina" userId="33f3cdfd-f8b7-498b-b8ec-0f5ed21f0b4a" providerId="ADAL" clId="{94293865-27CB-4CCE-A49E-CBFD52BCCD90}" dt="2022-05-20T11:27:21.964" v="2985" actId="1035"/>
          <ac:cxnSpMkLst>
            <pc:docMk/>
            <pc:sldMk cId="1425481955" sldId="2147375843"/>
            <ac:cxnSpMk id="61" creationId="{296961FE-93D1-45A3-BF78-AC87BB7816FC}"/>
          </ac:cxnSpMkLst>
        </pc:cxnChg>
        <pc:cxnChg chg="add mod ord">
          <ac:chgData name="Angela Liebana Medina" userId="33f3cdfd-f8b7-498b-b8ec-0f5ed21f0b4a" providerId="ADAL" clId="{94293865-27CB-4CCE-A49E-CBFD52BCCD90}" dt="2022-05-20T11:27:54.300" v="3006" actId="14100"/>
          <ac:cxnSpMkLst>
            <pc:docMk/>
            <pc:sldMk cId="1425481955" sldId="2147375843"/>
            <ac:cxnSpMk id="62" creationId="{2769D2C9-DC31-4E44-AE68-9007E8E8C989}"/>
          </ac:cxnSpMkLst>
        </pc:cxnChg>
        <pc:cxnChg chg="add mod ord">
          <ac:chgData name="Angela Liebana Medina" userId="33f3cdfd-f8b7-498b-b8ec-0f5ed21f0b4a" providerId="ADAL" clId="{94293865-27CB-4CCE-A49E-CBFD52BCCD90}" dt="2022-05-20T11:28:13.982" v="3012" actId="1036"/>
          <ac:cxnSpMkLst>
            <pc:docMk/>
            <pc:sldMk cId="1425481955" sldId="2147375843"/>
            <ac:cxnSpMk id="63" creationId="{2BD8C5FE-5618-4F67-A3FE-97B7EA5DF2BF}"/>
          </ac:cxnSpMkLst>
        </pc:cxnChg>
        <pc:cxnChg chg="add mod ord">
          <ac:chgData name="Angela Liebana Medina" userId="33f3cdfd-f8b7-498b-b8ec-0f5ed21f0b4a" providerId="ADAL" clId="{94293865-27CB-4CCE-A49E-CBFD52BCCD90}" dt="2022-05-20T11:28:40.810" v="3019" actId="1076"/>
          <ac:cxnSpMkLst>
            <pc:docMk/>
            <pc:sldMk cId="1425481955" sldId="2147375843"/>
            <ac:cxnSpMk id="64" creationId="{A985DB31-74F6-4FB7-823C-8292032F0148}"/>
          </ac:cxnSpMkLst>
        </pc:cxnChg>
        <pc:cxnChg chg="del mod topLvl">
          <ac:chgData name="Angela Liebana Medina" userId="33f3cdfd-f8b7-498b-b8ec-0f5ed21f0b4a" providerId="ADAL" clId="{94293865-27CB-4CCE-A49E-CBFD52BCCD90}" dt="2022-05-20T10:42:11.123" v="2512" actId="478"/>
          <ac:cxnSpMkLst>
            <pc:docMk/>
            <pc:sldMk cId="1425481955" sldId="2147375843"/>
            <ac:cxnSpMk id="73" creationId="{69F7AC2F-397C-4C59-9A84-35FFC37B8D77}"/>
          </ac:cxnSpMkLst>
        </pc:cxnChg>
      </pc:sldChg>
    </pc:docChg>
  </pc:docChgLst>
  <pc:docChgLst>
    <pc:chgData name="Cristina Rodriguez Villalba" userId="8b341366-6b8b-4796-a330-2b1119a3c4d5" providerId="ADAL" clId="{825967F1-B160-4524-8F8D-105276C1988B}"/>
    <pc:docChg chg="undo custSel addSld delSld modSld sldOrd delMainMaster">
      <pc:chgData name="Cristina Rodriguez Villalba" userId="8b341366-6b8b-4796-a330-2b1119a3c4d5" providerId="ADAL" clId="{825967F1-B160-4524-8F8D-105276C1988B}" dt="2022-05-20T11:32:32.040" v="3356" actId="1036"/>
      <pc:docMkLst>
        <pc:docMk/>
      </pc:docMkLst>
      <pc:sldChg chg="addSp delSp modSp mod">
        <pc:chgData name="Cristina Rodriguez Villalba" userId="8b341366-6b8b-4796-a330-2b1119a3c4d5" providerId="ADAL" clId="{825967F1-B160-4524-8F8D-105276C1988B}" dt="2022-05-20T11:13:24.136" v="3040" actId="20577"/>
        <pc:sldMkLst>
          <pc:docMk/>
          <pc:sldMk cId="1542755390" sldId="269"/>
        </pc:sldMkLst>
        <pc:spChg chg="add del mod modVis">
          <ac:chgData name="Cristina Rodriguez Villalba" userId="8b341366-6b8b-4796-a330-2b1119a3c4d5" providerId="ADAL" clId="{825967F1-B160-4524-8F8D-105276C1988B}" dt="2022-05-20T10:55:13.823" v="2337"/>
          <ac:spMkLst>
            <pc:docMk/>
            <pc:sldMk cId="1542755390" sldId="269"/>
            <ac:spMk id="2" creationId="{0E44F8AE-9BE9-4186-BF77-45F59379DE6A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15.105" v="2380"/>
          <ac:spMkLst>
            <pc:docMk/>
            <pc:sldMk cId="1542755390" sldId="269"/>
            <ac:spMk id="4" creationId="{06DDF3F3-2F81-4E99-A639-D3CB6B1AFA66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19.833" v="2428"/>
          <ac:spMkLst>
            <pc:docMk/>
            <pc:sldMk cId="1542755390" sldId="269"/>
            <ac:spMk id="5" creationId="{C0B633B2-DE2C-4F4D-8EDD-356D4697AF20}"/>
          </ac:spMkLst>
        </pc:spChg>
        <pc:spChg chg="mod">
          <ac:chgData name="Cristina Rodriguez Villalba" userId="8b341366-6b8b-4796-a330-2b1119a3c4d5" providerId="ADAL" clId="{825967F1-B160-4524-8F8D-105276C1988B}" dt="2022-05-20T10:55:35.352" v="2650" actId="948"/>
          <ac:spMkLst>
            <pc:docMk/>
            <pc:sldMk cId="1542755390" sldId="269"/>
            <ac:spMk id="6" creationId="{40447380-3E61-4E42-AFCA-CAF1866AAF93}"/>
          </ac:spMkLst>
        </pc:spChg>
        <pc:spChg chg="mod">
          <ac:chgData name="Cristina Rodriguez Villalba" userId="8b341366-6b8b-4796-a330-2b1119a3c4d5" providerId="ADAL" clId="{825967F1-B160-4524-8F8D-105276C1988B}" dt="2022-05-20T11:13:24.136" v="3040" actId="20577"/>
          <ac:spMkLst>
            <pc:docMk/>
            <pc:sldMk cId="1542755390" sldId="269"/>
            <ac:spMk id="7" creationId="{D184A763-02A6-4822-A5F0-D9E80A5D8061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20.371" v="2471"/>
          <ac:spMkLst>
            <pc:docMk/>
            <pc:sldMk cId="1542755390" sldId="269"/>
            <ac:spMk id="8" creationId="{A19CDE7F-9114-4A95-97EB-A20075679796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25.961" v="2529"/>
          <ac:spMkLst>
            <pc:docMk/>
            <pc:sldMk cId="1542755390" sldId="269"/>
            <ac:spMk id="10" creationId="{C6CDFF98-3542-41CD-A2F2-2C2253F02FFA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26.625" v="2587"/>
          <ac:spMkLst>
            <pc:docMk/>
            <pc:sldMk cId="1542755390" sldId="269"/>
            <ac:spMk id="11" creationId="{E2F462F1-12B9-4FA7-AB8F-4083FB839186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29.169" v="2645"/>
          <ac:spMkLst>
            <pc:docMk/>
            <pc:sldMk cId="1542755390" sldId="269"/>
            <ac:spMk id="12" creationId="{3BBA6773-1DDF-4D1F-8526-CB55D0B478C1}"/>
          </ac:spMkLst>
        </pc:spChg>
        <pc:spChg chg="add del mod modVis">
          <ac:chgData name="Cristina Rodriguez Villalba" userId="8b341366-6b8b-4796-a330-2b1119a3c4d5" providerId="ADAL" clId="{825967F1-B160-4524-8F8D-105276C1988B}" dt="2022-05-20T10:55:35.403" v="2704"/>
          <ac:spMkLst>
            <pc:docMk/>
            <pc:sldMk cId="1542755390" sldId="269"/>
            <ac:spMk id="13" creationId="{8C968BFE-783C-48A6-9FEC-59B6B62960AE}"/>
          </ac:spMkLst>
        </pc:spChg>
        <pc:graphicFrameChg chg="mod">
          <ac:chgData name="Cristina Rodriguez Villalba" userId="8b341366-6b8b-4796-a330-2b1119a3c4d5" providerId="ADAL" clId="{825967F1-B160-4524-8F8D-105276C1988B}" dt="2022-05-20T10:55:35.405" v="2706"/>
          <ac:graphicFrameMkLst>
            <pc:docMk/>
            <pc:sldMk cId="1542755390" sldId="269"/>
            <ac:graphicFrameMk id="3" creationId="{5BA8ACF1-1FB3-4A6E-92E7-6E647F15F3B5}"/>
          </ac:graphicFrameMkLst>
        </pc:graphicFrameChg>
      </pc:sldChg>
      <pc:sldChg chg="addSp delSp modSp del mod">
        <pc:chgData name="Cristina Rodriguez Villalba" userId="8b341366-6b8b-4796-a330-2b1119a3c4d5" providerId="ADAL" clId="{825967F1-B160-4524-8F8D-105276C1988B}" dt="2022-05-20T08:44:16.664" v="975" actId="47"/>
        <pc:sldMkLst>
          <pc:docMk/>
          <pc:sldMk cId="3160966869" sldId="2141411026"/>
        </pc:sldMkLst>
        <pc:spChg chg="add mod">
          <ac:chgData name="Cristina Rodriguez Villalba" userId="8b341366-6b8b-4796-a330-2b1119a3c4d5" providerId="ADAL" clId="{825967F1-B160-4524-8F8D-105276C1988B}" dt="2022-05-20T07:37:11.908" v="53" actId="1076"/>
          <ac:spMkLst>
            <pc:docMk/>
            <pc:sldMk cId="3160966869" sldId="2141411026"/>
            <ac:spMk id="13" creationId="{E6AB0E9E-A8F4-4DC6-A4FB-B65D40250A2A}"/>
          </ac:spMkLst>
        </pc:spChg>
        <pc:spChg chg="add mod">
          <ac:chgData name="Cristina Rodriguez Villalba" userId="8b341366-6b8b-4796-a330-2b1119a3c4d5" providerId="ADAL" clId="{825967F1-B160-4524-8F8D-105276C1988B}" dt="2022-05-20T07:53:41.449" v="198" actId="14100"/>
          <ac:spMkLst>
            <pc:docMk/>
            <pc:sldMk cId="3160966869" sldId="2141411026"/>
            <ac:spMk id="14" creationId="{7A0AEB8B-5F90-4E1F-9F43-98C8666EC2B4}"/>
          </ac:spMkLst>
        </pc:spChg>
        <pc:spChg chg="del mod">
          <ac:chgData name="Cristina Rodriguez Villalba" userId="8b341366-6b8b-4796-a330-2b1119a3c4d5" providerId="ADAL" clId="{825967F1-B160-4524-8F8D-105276C1988B}" dt="2022-05-20T07:38:16.132" v="60"/>
          <ac:spMkLst>
            <pc:docMk/>
            <pc:sldMk cId="3160966869" sldId="2141411026"/>
            <ac:spMk id="3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07:38:16.134" v="62"/>
          <ac:spMkLst>
            <pc:docMk/>
            <pc:sldMk cId="3160966869" sldId="2141411026"/>
            <ac:spMk id="3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07:38:16.135" v="64"/>
          <ac:spMkLst>
            <pc:docMk/>
            <pc:sldMk cId="3160966869" sldId="2141411026"/>
            <ac:spMk id="3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38:15.761" v="58" actId="20577"/>
          <ac:spMkLst>
            <pc:docMk/>
            <pc:sldMk cId="3160966869" sldId="2141411026"/>
            <ac:spMk id="35" creationId="{00000000-0000-0000-0000-000000000000}"/>
          </ac:spMkLst>
        </pc:spChg>
        <pc:spChg chg="add mod">
          <ac:chgData name="Cristina Rodriguez Villalba" userId="8b341366-6b8b-4796-a330-2b1119a3c4d5" providerId="ADAL" clId="{825967F1-B160-4524-8F8D-105276C1988B}" dt="2022-05-20T07:39:38.577" v="65" actId="1076"/>
          <ac:spMkLst>
            <pc:docMk/>
            <pc:sldMk cId="3160966869" sldId="2141411026"/>
            <ac:spMk id="51" creationId="{907FB979-1BFB-4FBF-B92A-815647461EA0}"/>
          </ac:spMkLst>
        </pc:spChg>
        <pc:spChg chg="add mod">
          <ac:chgData name="Cristina Rodriguez Villalba" userId="8b341366-6b8b-4796-a330-2b1119a3c4d5" providerId="ADAL" clId="{825967F1-B160-4524-8F8D-105276C1988B}" dt="2022-05-20T08:00:23.562" v="289" actId="20577"/>
          <ac:spMkLst>
            <pc:docMk/>
            <pc:sldMk cId="3160966869" sldId="2141411026"/>
            <ac:spMk id="53" creationId="{FC8C9CD0-D519-48B6-920D-336A71592692}"/>
          </ac:spMkLst>
        </pc:spChg>
        <pc:spChg chg="add del mod">
          <ac:chgData name="Cristina Rodriguez Villalba" userId="8b341366-6b8b-4796-a330-2b1119a3c4d5" providerId="ADAL" clId="{825967F1-B160-4524-8F8D-105276C1988B}" dt="2022-05-20T07:59:31.881" v="219" actId="478"/>
          <ac:spMkLst>
            <pc:docMk/>
            <pc:sldMk cId="3160966869" sldId="2141411026"/>
            <ac:spMk id="54" creationId="{C6DE869E-4046-4993-9116-F8CF6AEB2D4A}"/>
          </ac:spMkLst>
        </pc:spChg>
        <pc:spChg chg="mod">
          <ac:chgData name="Cristina Rodriguez Villalba" userId="8b341366-6b8b-4796-a330-2b1119a3c4d5" providerId="ADAL" clId="{825967F1-B160-4524-8F8D-105276C1988B}" dt="2022-05-20T07:37:20.893" v="54" actId="108"/>
          <ac:spMkLst>
            <pc:docMk/>
            <pc:sldMk cId="3160966869" sldId="2141411026"/>
            <ac:spMk id="71" creationId="{19788C76-4CAF-43FD-9C0E-362431A12E69}"/>
          </ac:spMkLst>
        </pc:spChg>
      </pc:sldChg>
      <pc:sldChg chg="addSp delSp modSp mod">
        <pc:chgData name="Cristina Rodriguez Villalba" userId="8b341366-6b8b-4796-a330-2b1119a3c4d5" providerId="ADAL" clId="{825967F1-B160-4524-8F8D-105276C1988B}" dt="2022-05-20T11:14:49.098" v="3231" actId="1035"/>
        <pc:sldMkLst>
          <pc:docMk/>
          <pc:sldMk cId="803260439" sldId="2147375823"/>
        </pc:sldMkLst>
        <pc:spChg chg="add del mod modVis">
          <ac:chgData name="Cristina Rodriguez Villalba" userId="8b341366-6b8b-4796-a330-2b1119a3c4d5" providerId="ADAL" clId="{825967F1-B160-4524-8F8D-105276C1988B}" dt="2022-05-20T08:06:13.527" v="367"/>
          <ac:spMkLst>
            <pc:docMk/>
            <pc:sldMk cId="803260439" sldId="2147375823"/>
            <ac:spMk id="4" creationId="{5C85CA1E-E95E-44D8-A32C-870B92C86F1D}"/>
          </ac:spMkLst>
        </pc:spChg>
        <pc:spChg chg="mod">
          <ac:chgData name="Cristina Rodriguez Villalba" userId="8b341366-6b8b-4796-a330-2b1119a3c4d5" providerId="ADAL" clId="{825967F1-B160-4524-8F8D-105276C1988B}" dt="2022-05-20T08:06:13.454" v="328" actId="948"/>
          <ac:spMkLst>
            <pc:docMk/>
            <pc:sldMk cId="803260439" sldId="2147375823"/>
            <ac:spMk id="5" creationId="{E8EEA1D4-065C-40A5-95F5-687EE246F171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0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0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0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0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1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2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3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4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4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4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4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50" creationId="{F6577DC1-2628-4FC3-850C-13D098C842C1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52" creationId="{14091715-5F67-43B9-889D-603F51113A3C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60" creationId="{D7422EA4-98B4-4FC9-9378-82E3BBFA509F}"/>
          </ac:spMkLst>
        </pc:spChg>
        <pc:spChg chg="mod">
          <ac:chgData name="Cristina Rodriguez Villalba" userId="8b341366-6b8b-4796-a330-2b1119a3c4d5" providerId="ADAL" clId="{825967F1-B160-4524-8F8D-105276C1988B}" dt="2022-05-20T11:14:49.098" v="3231" actId="1035"/>
          <ac:spMkLst>
            <pc:docMk/>
            <pc:sldMk cId="803260439" sldId="2147375823"/>
            <ac:spMk id="161" creationId="{1CE3836C-29BC-4325-91DB-B27390522EA7}"/>
          </ac:spMkLst>
        </pc:spChg>
        <pc:graphicFrameChg chg="mod">
          <ac:chgData name="Cristina Rodriguez Villalba" userId="8b341366-6b8b-4796-a330-2b1119a3c4d5" providerId="ADAL" clId="{825967F1-B160-4524-8F8D-105276C1988B}" dt="2022-05-20T08:06:13.529" v="369"/>
          <ac:graphicFrameMkLst>
            <pc:docMk/>
            <pc:sldMk cId="803260439" sldId="2147375823"/>
            <ac:graphicFrameMk id="2" creationId="{4D69BBED-150A-47F5-8F0D-16FD9FC1AF44}"/>
          </ac:graphicFrameMkLst>
        </pc:graphicFrameChg>
      </pc:sldChg>
      <pc:sldChg chg="addSp delSp modSp del mod">
        <pc:chgData name="Cristina Rodriguez Villalba" userId="8b341366-6b8b-4796-a330-2b1119a3c4d5" providerId="ADAL" clId="{825967F1-B160-4524-8F8D-105276C1988B}" dt="2022-05-20T10:38:00.503" v="2290" actId="47"/>
        <pc:sldMkLst>
          <pc:docMk/>
          <pc:sldMk cId="910592293" sldId="2147375828"/>
        </pc:sldMkLst>
        <pc:spChg chg="mod">
          <ac:chgData name="Cristina Rodriguez Villalba" userId="8b341366-6b8b-4796-a330-2b1119a3c4d5" providerId="ADAL" clId="{825967F1-B160-4524-8F8D-105276C1988B}" dt="2022-05-20T08:06:17.229" v="417" actId="948"/>
          <ac:spMkLst>
            <pc:docMk/>
            <pc:sldMk cId="910592293" sldId="2147375828"/>
            <ac:spMk id="5" creationId="{E8EEA1D4-065C-40A5-95F5-687EE246F171}"/>
          </ac:spMkLst>
        </pc:spChg>
        <pc:spChg chg="add del mod modVis">
          <ac:chgData name="Cristina Rodriguez Villalba" userId="8b341366-6b8b-4796-a330-2b1119a3c4d5" providerId="ADAL" clId="{825967F1-B160-4524-8F8D-105276C1988B}" dt="2022-05-20T08:06:16.378" v="410"/>
          <ac:spMkLst>
            <pc:docMk/>
            <pc:sldMk cId="910592293" sldId="2147375828"/>
            <ac:spMk id="6" creationId="{5A5C2E04-5D53-4B44-B3F0-1C84C32E367D}"/>
          </ac:spMkLst>
        </pc:spChg>
        <pc:spChg chg="add del mod modVis">
          <ac:chgData name="Cristina Rodriguez Villalba" userId="8b341366-6b8b-4796-a330-2b1119a3c4d5" providerId="ADAL" clId="{825967F1-B160-4524-8F8D-105276C1988B}" dt="2022-05-20T08:06:17.295" v="456"/>
          <ac:spMkLst>
            <pc:docMk/>
            <pc:sldMk cId="910592293" sldId="2147375828"/>
            <ac:spMk id="10" creationId="{A2B7D0D4-66F9-4C50-907E-3DF747B4C12A}"/>
          </ac:spMkLst>
        </pc:spChg>
        <pc:graphicFrameChg chg="mod">
          <ac:chgData name="Cristina Rodriguez Villalba" userId="8b341366-6b8b-4796-a330-2b1119a3c4d5" providerId="ADAL" clId="{825967F1-B160-4524-8F8D-105276C1988B}" dt="2022-05-20T08:06:17.300" v="458"/>
          <ac:graphicFrameMkLst>
            <pc:docMk/>
            <pc:sldMk cId="910592293" sldId="2147375828"/>
            <ac:graphicFrameMk id="2" creationId="{4D69BBED-150A-47F5-8F0D-16FD9FC1AF44}"/>
          </ac:graphicFrameMkLst>
        </pc:graphicFrameChg>
        <pc:graphicFrameChg chg="mod modGraphic">
          <ac:chgData name="Cristina Rodriguez Villalba" userId="8b341366-6b8b-4796-a330-2b1119a3c4d5" providerId="ADAL" clId="{825967F1-B160-4524-8F8D-105276C1988B}" dt="2022-05-20T10:37:26.114" v="2277" actId="1076"/>
          <ac:graphicFrameMkLst>
            <pc:docMk/>
            <pc:sldMk cId="910592293" sldId="2147375828"/>
            <ac:graphicFrameMk id="30" creationId="{05F54323-0F9C-44ED-94BA-E236CEF79B27}"/>
          </ac:graphicFrameMkLst>
        </pc:graphicFrameChg>
      </pc:sldChg>
      <pc:sldChg chg="modSp add del mod">
        <pc:chgData name="Cristina Rodriguez Villalba" userId="8b341366-6b8b-4796-a330-2b1119a3c4d5" providerId="ADAL" clId="{825967F1-B160-4524-8F8D-105276C1988B}" dt="2022-05-20T08:00:46.946" v="292" actId="47"/>
        <pc:sldMkLst>
          <pc:docMk/>
          <pc:sldMk cId="3653562366" sldId="2147375829"/>
        </pc:sldMkLst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8" creationId="{EF111281-EBC1-45F5-A61A-127302E518D7}"/>
          </ac:spMkLst>
        </pc:spChg>
        <pc:spChg chg="mod">
          <ac:chgData name="Cristina Rodriguez Villalba" userId="8b341366-6b8b-4796-a330-2b1119a3c4d5" providerId="ADAL" clId="{825967F1-B160-4524-8F8D-105276C1988B}" dt="2022-05-20T07:40:50.232" v="94" actId="20577"/>
          <ac:spMkLst>
            <pc:docMk/>
            <pc:sldMk cId="3653562366" sldId="2147375829"/>
            <ac:spMk id="13" creationId="{E6AB0E9E-A8F4-4DC6-A4FB-B65D40250A2A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1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1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1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2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3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39" creationId="{D022CD94-B6A3-40C7-940A-88A504441EE5}"/>
          </ac:spMkLst>
        </pc:spChg>
        <pc:spChg chg="mod">
          <ac:chgData name="Cristina Rodriguez Villalba" userId="8b341366-6b8b-4796-a330-2b1119a3c4d5" providerId="ADAL" clId="{825967F1-B160-4524-8F8D-105276C1988B}" dt="2022-05-20T07:40:57.578" v="115" actId="20577"/>
          <ac:spMkLst>
            <pc:docMk/>
            <pc:sldMk cId="3653562366" sldId="2147375829"/>
            <ac:spMk id="51" creationId="{907FB979-1BFB-4FBF-B92A-815647461EA0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71" creationId="{19788C76-4CAF-43FD-9C0E-362431A12E69}"/>
          </ac:spMkLst>
        </pc:spChg>
        <pc:spChg chg="mod">
          <ac:chgData name="Cristina Rodriguez Villalba" userId="8b341366-6b8b-4796-a330-2b1119a3c4d5" providerId="ADAL" clId="{825967F1-B160-4524-8F8D-105276C1988B}" dt="2022-05-20T07:40:42.747" v="67"/>
          <ac:spMkLst>
            <pc:docMk/>
            <pc:sldMk cId="3653562366" sldId="2147375829"/>
            <ac:spMk id="79" creationId="{034041A6-5BD6-44D2-AE55-CDB9E8B479F5}"/>
          </ac:spMkLst>
        </pc:spChg>
        <pc:grpChg chg="mod">
          <ac:chgData name="Cristina Rodriguez Villalba" userId="8b341366-6b8b-4796-a330-2b1119a3c4d5" providerId="ADAL" clId="{825967F1-B160-4524-8F8D-105276C1988B}" dt="2022-05-20T07:40:42.747" v="67"/>
          <ac:grpSpMkLst>
            <pc:docMk/>
            <pc:sldMk cId="3653562366" sldId="2147375829"/>
            <ac:grpSpMk id="1" creationId="{00000000-0000-0000-0000-000000000000}"/>
          </ac:grpSpMkLst>
        </pc:grpChg>
        <pc:grpChg chg="mod">
          <ac:chgData name="Cristina Rodriguez Villalba" userId="8b341366-6b8b-4796-a330-2b1119a3c4d5" providerId="ADAL" clId="{825967F1-B160-4524-8F8D-105276C1988B}" dt="2022-05-20T07:40:42.747" v="67"/>
          <ac:grpSpMkLst>
            <pc:docMk/>
            <pc:sldMk cId="3653562366" sldId="2147375829"/>
            <ac:grpSpMk id="4" creationId="{951BA24D-8F76-4C30-9F56-94BF4FE7B615}"/>
          </ac:grpSpMkLst>
        </pc:grpChg>
        <pc:graphicFrameChg chg="mod">
          <ac:chgData name="Cristina Rodriguez Villalba" userId="8b341366-6b8b-4796-a330-2b1119a3c4d5" providerId="ADAL" clId="{825967F1-B160-4524-8F8D-105276C1988B}" dt="2022-05-20T07:40:42.747" v="67"/>
          <ac:graphicFrameMkLst>
            <pc:docMk/>
            <pc:sldMk cId="3653562366" sldId="2147375829"/>
            <ac:graphicFrameMk id="3" creationId="{B706D322-D65F-4AA1-86D8-5989EFDC71B9}"/>
          </ac:graphicFrameMkLst>
        </pc:graphicFrameChg>
        <pc:picChg chg="mod">
          <ac:chgData name="Cristina Rodriguez Villalba" userId="8b341366-6b8b-4796-a330-2b1119a3c4d5" providerId="ADAL" clId="{825967F1-B160-4524-8F8D-105276C1988B}" dt="2022-05-20T07:40:42.747" v="67"/>
          <ac:picMkLst>
            <pc:docMk/>
            <pc:sldMk cId="3653562366" sldId="2147375829"/>
            <ac:picMk id="40" creationId="{00000000-0000-0000-0000-000000000000}"/>
          </ac:picMkLst>
        </pc:picChg>
        <pc:cxnChg chg="mod">
          <ac:chgData name="Cristina Rodriguez Villalba" userId="8b341366-6b8b-4796-a330-2b1119a3c4d5" providerId="ADAL" clId="{825967F1-B160-4524-8F8D-105276C1988B}" dt="2022-05-20T07:40:42.747" v="67"/>
          <ac:cxnSpMkLst>
            <pc:docMk/>
            <pc:sldMk cId="3653562366" sldId="2147375829"/>
            <ac:cxnSpMk id="6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7:40:42.747" v="67"/>
          <ac:cxnSpMkLst>
            <pc:docMk/>
            <pc:sldMk cId="3653562366" sldId="2147375829"/>
            <ac:cxnSpMk id="21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7:40:42.747" v="67"/>
          <ac:cxnSpMkLst>
            <pc:docMk/>
            <pc:sldMk cId="3653562366" sldId="2147375829"/>
            <ac:cxnSpMk id="22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7:40:42.747" v="67"/>
          <ac:cxnSpMkLst>
            <pc:docMk/>
            <pc:sldMk cId="3653562366" sldId="2147375829"/>
            <ac:cxnSpMk id="27" creationId="{E1ADCD76-C12D-4FFB-9565-9F8A357B935D}"/>
          </ac:cxnSpMkLst>
        </pc:cxnChg>
        <pc:cxnChg chg="mod">
          <ac:chgData name="Cristina Rodriguez Villalba" userId="8b341366-6b8b-4796-a330-2b1119a3c4d5" providerId="ADAL" clId="{825967F1-B160-4524-8F8D-105276C1988B}" dt="2022-05-20T07:40:42.747" v="67"/>
          <ac:cxnSpMkLst>
            <pc:docMk/>
            <pc:sldMk cId="3653562366" sldId="2147375829"/>
            <ac:cxnSpMk id="48" creationId="{CA4A3689-DBE2-40CF-B5F3-2F5A7EF17177}"/>
          </ac:cxnSpMkLst>
        </pc:cxnChg>
      </pc:sldChg>
      <pc:sldChg chg="modSp mod">
        <pc:chgData name="Cristina Rodriguez Villalba" userId="8b341366-6b8b-4796-a330-2b1119a3c4d5" providerId="ADAL" clId="{825967F1-B160-4524-8F8D-105276C1988B}" dt="2022-05-20T08:01:04.215" v="297"/>
        <pc:sldMkLst>
          <pc:docMk/>
          <pc:sldMk cId="2238744592" sldId="2147375830"/>
        </pc:sldMkLst>
        <pc:spChg chg="mod">
          <ac:chgData name="Cristina Rodriguez Villalba" userId="8b341366-6b8b-4796-a330-2b1119a3c4d5" providerId="ADAL" clId="{825967F1-B160-4524-8F8D-105276C1988B}" dt="2022-05-20T08:01:04.215" v="297"/>
          <ac:spMkLst>
            <pc:docMk/>
            <pc:sldMk cId="2238744592" sldId="2147375830"/>
            <ac:spMk id="33" creationId="{CE149104-872D-4B9F-B2FE-E0F69ECB07E7}"/>
          </ac:spMkLst>
        </pc:spChg>
      </pc:sldChg>
      <pc:sldChg chg="delSp modSp add del mod ord">
        <pc:chgData name="Cristina Rodriguez Villalba" userId="8b341366-6b8b-4796-a330-2b1119a3c4d5" providerId="ADAL" clId="{825967F1-B160-4524-8F8D-105276C1988B}" dt="2022-05-20T09:55:04.197" v="1913" actId="47"/>
        <pc:sldMkLst>
          <pc:docMk/>
          <pc:sldMk cId="3095931089" sldId="2147375832"/>
        </pc:sldMkLst>
        <pc:spChg chg="mod">
          <ac:chgData name="Cristina Rodriguez Villalba" userId="8b341366-6b8b-4796-a330-2b1119a3c4d5" providerId="ADAL" clId="{825967F1-B160-4524-8F8D-105276C1988B}" dt="2022-05-20T08:16:52.680" v="837" actId="20577"/>
          <ac:spMkLst>
            <pc:docMk/>
            <pc:sldMk cId="3095931089" sldId="2147375832"/>
            <ac:spMk id="5" creationId="{230AB330-6041-499E-A10C-CE13F3114CDD}"/>
          </ac:spMkLst>
        </pc:spChg>
        <pc:spChg chg="del mod">
          <ac:chgData name="Cristina Rodriguez Villalba" userId="8b341366-6b8b-4796-a330-2b1119a3c4d5" providerId="ADAL" clId="{825967F1-B160-4524-8F8D-105276C1988B}" dt="2022-05-20T08:11:58.679" v="557"/>
          <ac:spMkLst>
            <pc:docMk/>
            <pc:sldMk cId="3095931089" sldId="2147375832"/>
            <ac:spMk id="7" creationId="{8DBF8C74-99AF-4267-8359-032B46F8FF8D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8" creationId="{EF111281-EBC1-45F5-A61A-127302E518D7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11" creationId="{8647B9F2-4832-4290-BC57-2389AD8FD811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13" creationId="{E6AB0E9E-A8F4-4DC6-A4FB-B65D40250A2A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1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1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1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2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26" creationId="{7FF74B45-919A-4526-AA7B-839F392E7081}"/>
          </ac:spMkLst>
        </pc:spChg>
        <pc:spChg chg="mod">
          <ac:chgData name="Cristina Rodriguez Villalba" userId="8b341366-6b8b-4796-a330-2b1119a3c4d5" providerId="ADAL" clId="{825967F1-B160-4524-8F8D-105276C1988B}" dt="2022-05-20T08:02:06.193" v="322" actId="5793"/>
          <ac:spMkLst>
            <pc:docMk/>
            <pc:sldMk cId="3095931089" sldId="2147375832"/>
            <ac:spMk id="28" creationId="{B868009D-01EB-4164-AF77-93CE0B827358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30" creationId="{DDCB5B97-BE92-4B83-9D24-9053F3FA8023}"/>
          </ac:spMkLst>
        </pc:spChg>
        <pc:spChg chg="mod">
          <ac:chgData name="Cristina Rodriguez Villalba" userId="8b341366-6b8b-4796-a330-2b1119a3c4d5" providerId="ADAL" clId="{825967F1-B160-4524-8F8D-105276C1988B}" dt="2022-05-20T09:49:22.757" v="1880"/>
          <ac:spMkLst>
            <pc:docMk/>
            <pc:sldMk cId="3095931089" sldId="2147375832"/>
            <ac:spMk id="31" creationId="{5C44E46B-9D1B-40A6-8502-80CAF062534A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32" creationId="{622D66E0-352C-4F30-8E05-1664B2FB072D}"/>
          </ac:spMkLst>
        </pc:spChg>
        <pc:spChg chg="mod">
          <ac:chgData name="Cristina Rodriguez Villalba" userId="8b341366-6b8b-4796-a330-2b1119a3c4d5" providerId="ADAL" clId="{825967F1-B160-4524-8F8D-105276C1988B}" dt="2022-05-20T08:11:53.030" v="555" actId="313"/>
          <ac:spMkLst>
            <pc:docMk/>
            <pc:sldMk cId="3095931089" sldId="2147375832"/>
            <ac:spMk id="33" creationId="{CE149104-872D-4B9F-B2FE-E0F69ECB07E7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3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36" creationId="{18C206EE-087A-45E5-9194-25E11AF4A016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39" creationId="{D022CD94-B6A3-40C7-940A-88A504441EE5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51" creationId="{907FB979-1BFB-4FBF-B92A-815647461EA0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71" creationId="{19788C76-4CAF-43FD-9C0E-362431A12E69}"/>
          </ac:spMkLst>
        </pc:spChg>
        <pc:spChg chg="mod">
          <ac:chgData name="Cristina Rodriguez Villalba" userId="8b341366-6b8b-4796-a330-2b1119a3c4d5" providerId="ADAL" clId="{825967F1-B160-4524-8F8D-105276C1988B}" dt="2022-05-20T08:00:43.567" v="291"/>
          <ac:spMkLst>
            <pc:docMk/>
            <pc:sldMk cId="3095931089" sldId="2147375832"/>
            <ac:spMk id="79" creationId="{034041A6-5BD6-44D2-AE55-CDB9E8B479F5}"/>
          </ac:spMkLst>
        </pc:spChg>
        <pc:grpChg chg="mod">
          <ac:chgData name="Cristina Rodriguez Villalba" userId="8b341366-6b8b-4796-a330-2b1119a3c4d5" providerId="ADAL" clId="{825967F1-B160-4524-8F8D-105276C1988B}" dt="2022-05-20T08:00:43.567" v="291"/>
          <ac:grpSpMkLst>
            <pc:docMk/>
            <pc:sldMk cId="3095931089" sldId="2147375832"/>
            <ac:grpSpMk id="1" creationId="{00000000-0000-0000-0000-000000000000}"/>
          </ac:grpSpMkLst>
        </pc:grpChg>
        <pc:graphicFrameChg chg="mod">
          <ac:chgData name="Cristina Rodriguez Villalba" userId="8b341366-6b8b-4796-a330-2b1119a3c4d5" providerId="ADAL" clId="{825967F1-B160-4524-8F8D-105276C1988B}" dt="2022-05-20T08:00:43.567" v="291"/>
          <ac:graphicFrameMkLst>
            <pc:docMk/>
            <pc:sldMk cId="3095931089" sldId="2147375832"/>
            <ac:graphicFrameMk id="3" creationId="{B706D322-D65F-4AA1-86D8-5989EFDC71B9}"/>
          </ac:graphicFrameMkLst>
        </pc:graphicFrameChg>
        <pc:picChg chg="mod">
          <ac:chgData name="Cristina Rodriguez Villalba" userId="8b341366-6b8b-4796-a330-2b1119a3c4d5" providerId="ADAL" clId="{825967F1-B160-4524-8F8D-105276C1988B}" dt="2022-05-20T08:00:43.567" v="291"/>
          <ac:picMkLst>
            <pc:docMk/>
            <pc:sldMk cId="3095931089" sldId="2147375832"/>
            <ac:picMk id="23" creationId="{FB1450C6-98C3-476B-8FFF-E20306A40EC5}"/>
          </ac:picMkLst>
        </pc:picChg>
        <pc:cxnChg chg="mod">
          <ac:chgData name="Cristina Rodriguez Villalba" userId="8b341366-6b8b-4796-a330-2b1119a3c4d5" providerId="ADAL" clId="{825967F1-B160-4524-8F8D-105276C1988B}" dt="2022-05-20T08:00:43.567" v="291"/>
          <ac:cxnSpMkLst>
            <pc:docMk/>
            <pc:sldMk cId="3095931089" sldId="2147375832"/>
            <ac:cxnSpMk id="6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8:00:43.567" v="291"/>
          <ac:cxnSpMkLst>
            <pc:docMk/>
            <pc:sldMk cId="3095931089" sldId="2147375832"/>
            <ac:cxnSpMk id="21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8:00:43.567" v="291"/>
          <ac:cxnSpMkLst>
            <pc:docMk/>
            <pc:sldMk cId="3095931089" sldId="2147375832"/>
            <ac:cxnSpMk id="22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8:00:43.567" v="291"/>
          <ac:cxnSpMkLst>
            <pc:docMk/>
            <pc:sldMk cId="3095931089" sldId="2147375832"/>
            <ac:cxnSpMk id="27" creationId="{E1ADCD76-C12D-4FFB-9565-9F8A357B935D}"/>
          </ac:cxnSpMkLst>
        </pc:cxnChg>
        <pc:cxnChg chg="mod">
          <ac:chgData name="Cristina Rodriguez Villalba" userId="8b341366-6b8b-4796-a330-2b1119a3c4d5" providerId="ADAL" clId="{825967F1-B160-4524-8F8D-105276C1988B}" dt="2022-05-20T08:00:43.567" v="291"/>
          <ac:cxnSpMkLst>
            <pc:docMk/>
            <pc:sldMk cId="3095931089" sldId="2147375832"/>
            <ac:cxnSpMk id="48" creationId="{CA4A3689-DBE2-40CF-B5F3-2F5A7EF17177}"/>
          </ac:cxnSpMkLst>
        </pc:cxnChg>
      </pc:sldChg>
      <pc:sldChg chg="addSp delSp modSp del mod ord">
        <pc:chgData name="Cristina Rodriguez Villalba" userId="8b341366-6b8b-4796-a330-2b1119a3c4d5" providerId="ADAL" clId="{825967F1-B160-4524-8F8D-105276C1988B}" dt="2022-05-20T10:39:10.760" v="2291" actId="47"/>
        <pc:sldMkLst>
          <pc:docMk/>
          <pc:sldMk cId="2703615469" sldId="2147375837"/>
        </pc:sldMkLst>
        <pc:spChg chg="mod ord">
          <ac:chgData name="Cristina Rodriguez Villalba" userId="8b341366-6b8b-4796-a330-2b1119a3c4d5" providerId="ADAL" clId="{825967F1-B160-4524-8F8D-105276C1988B}" dt="2022-05-20T09:41:54.988" v="1700"/>
          <ac:spMkLst>
            <pc:docMk/>
            <pc:sldMk cId="2703615469" sldId="2147375837"/>
            <ac:spMk id="4" creationId="{444E28E4-126B-4513-8568-8C2A86FD0469}"/>
          </ac:spMkLst>
        </pc:spChg>
        <pc:spChg chg="add mod ord">
          <ac:chgData name="Cristina Rodriguez Villalba" userId="8b341366-6b8b-4796-a330-2b1119a3c4d5" providerId="ADAL" clId="{825967F1-B160-4524-8F8D-105276C1988B}" dt="2022-05-20T09:42:17.120" v="1724" actId="207"/>
          <ac:spMkLst>
            <pc:docMk/>
            <pc:sldMk cId="2703615469" sldId="2147375837"/>
            <ac:spMk id="7" creationId="{85387FC9-AD2D-4B9A-BED6-EEFCE0512353}"/>
          </ac:spMkLst>
        </pc:spChg>
        <pc:spChg chg="mod ord">
          <ac:chgData name="Cristina Rodriguez Villalba" userId="8b341366-6b8b-4796-a330-2b1119a3c4d5" providerId="ADAL" clId="{825967F1-B160-4524-8F8D-105276C1988B}" dt="2022-05-20T09:41:54.989" v="1702"/>
          <ac:spMkLst>
            <pc:docMk/>
            <pc:sldMk cId="2703615469" sldId="2147375837"/>
            <ac:spMk id="8" creationId="{EF111281-EBC1-45F5-A61A-127302E518D7}"/>
          </ac:spMkLst>
        </pc:spChg>
        <pc:spChg chg="add del mod modVis">
          <ac:chgData name="Cristina Rodriguez Villalba" userId="8b341366-6b8b-4796-a330-2b1119a3c4d5" providerId="ADAL" clId="{825967F1-B160-4524-8F8D-105276C1988B}" dt="2022-05-20T09:41:54.994" v="1721"/>
          <ac:spMkLst>
            <pc:docMk/>
            <pc:sldMk cId="2703615469" sldId="2147375837"/>
            <ac:spMk id="10" creationId="{0A44229F-3615-4CBE-A173-159B3F585DA6}"/>
          </ac:spMkLst>
        </pc:spChg>
        <pc:spChg chg="add del mod modVis">
          <ac:chgData name="Cristina Rodriguez Villalba" userId="8b341366-6b8b-4796-a330-2b1119a3c4d5" providerId="ADAL" clId="{825967F1-B160-4524-8F8D-105276C1988B}" dt="2022-05-20T09:43:11.225" v="1808"/>
          <ac:spMkLst>
            <pc:docMk/>
            <pc:sldMk cId="2703615469" sldId="2147375837"/>
            <ac:spMk id="11" creationId="{6F5E6F03-112D-432E-B9E4-AA76AA1D0773}"/>
          </ac:spMkLst>
        </pc:spChg>
        <pc:spChg chg="mod">
          <ac:chgData name="Cristina Rodriguez Villalba" userId="8b341366-6b8b-4796-a330-2b1119a3c4d5" providerId="ADAL" clId="{825967F1-B160-4524-8F8D-105276C1988B}" dt="2022-05-20T09:31:14.555" v="1394" actId="1036"/>
          <ac:spMkLst>
            <pc:docMk/>
            <pc:sldMk cId="2703615469" sldId="2147375837"/>
            <ac:spMk id="1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9:31:21.118" v="1402" actId="1036"/>
          <ac:spMkLst>
            <pc:docMk/>
            <pc:sldMk cId="2703615469" sldId="2147375837"/>
            <ac:spMk id="20" creationId="{00000000-0000-0000-0000-000000000000}"/>
          </ac:spMkLst>
        </pc:spChg>
        <pc:spChg chg="mod ord">
          <ac:chgData name="Cristina Rodriguez Villalba" userId="8b341366-6b8b-4796-a330-2b1119a3c4d5" providerId="ADAL" clId="{825967F1-B160-4524-8F8D-105276C1988B}" dt="2022-05-20T09:41:54.991" v="1712"/>
          <ac:spMkLst>
            <pc:docMk/>
            <pc:sldMk cId="2703615469" sldId="2147375837"/>
            <ac:spMk id="33" creationId="{AC5F5B59-5E67-48B4-A99A-3F4E00B8539C}"/>
          </ac:spMkLst>
        </pc:spChg>
        <pc:spChg chg="add del mod modVis">
          <ac:chgData name="Cristina Rodriguez Villalba" userId="8b341366-6b8b-4796-a330-2b1119a3c4d5" providerId="ADAL" clId="{825967F1-B160-4524-8F8D-105276C1988B}" dt="2022-05-20T09:26:43.367" v="1320"/>
          <ac:spMkLst>
            <pc:docMk/>
            <pc:sldMk cId="2703615469" sldId="2147375837"/>
            <ac:spMk id="35" creationId="{F2AA7263-7EA7-4837-BB05-80966C3DBAFF}"/>
          </ac:spMkLst>
        </pc:spChg>
        <pc:spChg chg="mod ord">
          <ac:chgData name="Cristina Rodriguez Villalba" userId="8b341366-6b8b-4796-a330-2b1119a3c4d5" providerId="ADAL" clId="{825967F1-B160-4524-8F8D-105276C1988B}" dt="2022-05-20T09:43:11.184" v="1769" actId="948"/>
          <ac:spMkLst>
            <pc:docMk/>
            <pc:sldMk cId="2703615469" sldId="2147375837"/>
            <ac:spMk id="39" creationId="{D022CD94-B6A3-40C7-940A-88A504441EE5}"/>
          </ac:spMkLst>
        </pc:spChg>
        <pc:spChg chg="mod">
          <ac:chgData name="Cristina Rodriguez Villalba" userId="8b341366-6b8b-4796-a330-2b1119a3c4d5" providerId="ADAL" clId="{825967F1-B160-4524-8F8D-105276C1988B}" dt="2022-05-20T09:29:34.984" v="1360" actId="947"/>
          <ac:spMkLst>
            <pc:docMk/>
            <pc:sldMk cId="2703615469" sldId="2147375837"/>
            <ac:spMk id="40" creationId="{0865407F-6427-4793-8B51-D87D5A39CAE4}"/>
          </ac:spMkLst>
        </pc:spChg>
        <pc:spChg chg="mod">
          <ac:chgData name="Cristina Rodriguez Villalba" userId="8b341366-6b8b-4796-a330-2b1119a3c4d5" providerId="ADAL" clId="{825967F1-B160-4524-8F8D-105276C1988B}" dt="2022-05-20T10:00:20.389" v="1944" actId="20577"/>
          <ac:spMkLst>
            <pc:docMk/>
            <pc:sldMk cId="2703615469" sldId="2147375837"/>
            <ac:spMk id="47" creationId="{FF9FBE67-958F-4435-B532-24C2FFC7DB1A}"/>
          </ac:spMkLst>
        </pc:spChg>
        <pc:spChg chg="del mod">
          <ac:chgData name="Cristina Rodriguez Villalba" userId="8b341366-6b8b-4796-a330-2b1119a3c4d5" providerId="ADAL" clId="{825967F1-B160-4524-8F8D-105276C1988B}" dt="2022-05-20T09:36:41.370" v="1627" actId="478"/>
          <ac:spMkLst>
            <pc:docMk/>
            <pc:sldMk cId="2703615469" sldId="2147375837"/>
            <ac:spMk id="51" creationId="{37959DB6-0C44-4120-99AD-0D9F74990C6A}"/>
          </ac:spMkLst>
        </pc:spChg>
        <pc:spChg chg="mod ord">
          <ac:chgData name="Cristina Rodriguez Villalba" userId="8b341366-6b8b-4796-a330-2b1119a3c4d5" providerId="ADAL" clId="{825967F1-B160-4524-8F8D-105276C1988B}" dt="2022-05-20T09:41:54.992" v="1716"/>
          <ac:spMkLst>
            <pc:docMk/>
            <pc:sldMk cId="2703615469" sldId="2147375837"/>
            <ac:spMk id="53" creationId="{E14C91CE-9993-4C65-8C72-33DADEF85B28}"/>
          </ac:spMkLst>
        </pc:spChg>
        <pc:spChg chg="del mod ord">
          <ac:chgData name="Cristina Rodriguez Villalba" userId="8b341366-6b8b-4796-a330-2b1119a3c4d5" providerId="ADAL" clId="{825967F1-B160-4524-8F8D-105276C1988B}" dt="2022-05-20T09:36:31.854" v="1622" actId="478"/>
          <ac:spMkLst>
            <pc:docMk/>
            <pc:sldMk cId="2703615469" sldId="2147375837"/>
            <ac:spMk id="54" creationId="{E6A6582F-D705-47FC-ABDA-5C1665023F5E}"/>
          </ac:spMkLst>
        </pc:spChg>
        <pc:spChg chg="add del mod ord">
          <ac:chgData name="Cristina Rodriguez Villalba" userId="8b341366-6b8b-4796-a330-2b1119a3c4d5" providerId="ADAL" clId="{825967F1-B160-4524-8F8D-105276C1988B}" dt="2022-05-20T09:36:33.285" v="1623" actId="478"/>
          <ac:spMkLst>
            <pc:docMk/>
            <pc:sldMk cId="2703615469" sldId="2147375837"/>
            <ac:spMk id="62" creationId="{43466EB9-E8D7-4D80-AF4F-172F99D6F9E5}"/>
          </ac:spMkLst>
        </pc:spChg>
        <pc:spChg chg="mod">
          <ac:chgData name="Cristina Rodriguez Villalba" userId="8b341366-6b8b-4796-a330-2b1119a3c4d5" providerId="ADAL" clId="{825967F1-B160-4524-8F8D-105276C1988B}" dt="2022-05-20T09:58:37.687" v="1934" actId="20577"/>
          <ac:spMkLst>
            <pc:docMk/>
            <pc:sldMk cId="2703615469" sldId="2147375837"/>
            <ac:spMk id="67" creationId="{35A9873B-3972-4077-A047-3036D9A3F019}"/>
          </ac:spMkLst>
        </pc:spChg>
        <pc:spChg chg="del mod">
          <ac:chgData name="Cristina Rodriguez Villalba" userId="8b341366-6b8b-4796-a330-2b1119a3c4d5" providerId="ADAL" clId="{825967F1-B160-4524-8F8D-105276C1988B}" dt="2022-05-20T09:40:17.355" v="1632" actId="6549"/>
          <ac:spMkLst>
            <pc:docMk/>
            <pc:sldMk cId="2703615469" sldId="2147375837"/>
            <ac:spMk id="70" creationId="{F0BA3873-4F23-4EFB-84A6-907220C27AB7}"/>
          </ac:spMkLst>
        </pc:spChg>
        <pc:spChg chg="mod ord">
          <ac:chgData name="Cristina Rodriguez Villalba" userId="8b341366-6b8b-4796-a330-2b1119a3c4d5" providerId="ADAL" clId="{825967F1-B160-4524-8F8D-105276C1988B}" dt="2022-05-20T09:58:30.427" v="1932" actId="20577"/>
          <ac:spMkLst>
            <pc:docMk/>
            <pc:sldMk cId="2703615469" sldId="2147375837"/>
            <ac:spMk id="75" creationId="{C1865D26-770B-4EA2-8A44-1D67B0CF78C1}"/>
          </ac:spMkLst>
        </pc:spChg>
        <pc:spChg chg="mod ord">
          <ac:chgData name="Cristina Rodriguez Villalba" userId="8b341366-6b8b-4796-a330-2b1119a3c4d5" providerId="ADAL" clId="{825967F1-B160-4524-8F8D-105276C1988B}" dt="2022-05-20T09:41:54.990" v="1710"/>
          <ac:spMkLst>
            <pc:docMk/>
            <pc:sldMk cId="2703615469" sldId="2147375837"/>
            <ac:spMk id="76" creationId="{F29AB2D3-43DF-47A0-886F-BBC1362D16F6}"/>
          </ac:spMkLst>
        </pc:spChg>
        <pc:grpChg chg="mod ord">
          <ac:chgData name="Cristina Rodriguez Villalba" userId="8b341366-6b8b-4796-a330-2b1119a3c4d5" providerId="ADAL" clId="{825967F1-B160-4524-8F8D-105276C1988B}" dt="2022-05-20T09:41:54.991" v="1714"/>
          <ac:grpSpMkLst>
            <pc:docMk/>
            <pc:sldMk cId="2703615469" sldId="2147375837"/>
            <ac:grpSpMk id="6" creationId="{B16A46AF-CB21-4106-8390-E23FA2284054}"/>
          </ac:grpSpMkLst>
        </pc:grpChg>
        <pc:grpChg chg="del mod">
          <ac:chgData name="Cristina Rodriguez Villalba" userId="8b341366-6b8b-4796-a330-2b1119a3c4d5" providerId="ADAL" clId="{825967F1-B160-4524-8F8D-105276C1988B}" dt="2022-05-20T09:40:09.998" v="1630" actId="478"/>
          <ac:grpSpMkLst>
            <pc:docMk/>
            <pc:sldMk cId="2703615469" sldId="2147375837"/>
            <ac:grpSpMk id="9" creationId="{E48F94B9-2386-48E6-9E25-C11A765FF7B5}"/>
          </ac:grpSpMkLst>
        </pc:grpChg>
        <pc:grpChg chg="mod topLvl">
          <ac:chgData name="Cristina Rodriguez Villalba" userId="8b341366-6b8b-4796-a330-2b1119a3c4d5" providerId="ADAL" clId="{825967F1-B160-4524-8F8D-105276C1988B}" dt="2022-05-20T09:41:54.992" v="1717"/>
          <ac:grpSpMkLst>
            <pc:docMk/>
            <pc:sldMk cId="2703615469" sldId="2147375837"/>
            <ac:grpSpMk id="15" creationId="{6437F1D1-D2D7-4954-B3B5-955D942F93B7}"/>
          </ac:grpSpMkLst>
        </pc:grpChg>
        <pc:grpChg chg="mod ord">
          <ac:chgData name="Cristina Rodriguez Villalba" userId="8b341366-6b8b-4796-a330-2b1119a3c4d5" providerId="ADAL" clId="{825967F1-B160-4524-8F8D-105276C1988B}" dt="2022-05-20T09:41:54.993" v="1719"/>
          <ac:grpSpMkLst>
            <pc:docMk/>
            <pc:sldMk cId="2703615469" sldId="2147375837"/>
            <ac:grpSpMk id="42" creationId="{80AD74FA-4C31-4E49-8295-29401366680B}"/>
          </ac:grpSpMkLst>
        </pc:grpChg>
        <pc:grpChg chg="del">
          <ac:chgData name="Cristina Rodriguez Villalba" userId="8b341366-6b8b-4796-a330-2b1119a3c4d5" providerId="ADAL" clId="{825967F1-B160-4524-8F8D-105276C1988B}" dt="2022-05-20T09:36:39.376" v="1626" actId="478"/>
          <ac:grpSpMkLst>
            <pc:docMk/>
            <pc:sldMk cId="2703615469" sldId="2147375837"/>
            <ac:grpSpMk id="50" creationId="{2724DFDA-4CCD-4E09-A3C7-D71555BBF820}"/>
          </ac:grpSpMkLst>
        </pc:grpChg>
        <pc:grpChg chg="del">
          <ac:chgData name="Cristina Rodriguez Villalba" userId="8b341366-6b8b-4796-a330-2b1119a3c4d5" providerId="ADAL" clId="{825967F1-B160-4524-8F8D-105276C1988B}" dt="2022-05-20T09:40:14.436" v="1631" actId="478"/>
          <ac:grpSpMkLst>
            <pc:docMk/>
            <pc:sldMk cId="2703615469" sldId="2147375837"/>
            <ac:grpSpMk id="69" creationId="{CB8F2F82-AAFC-41E1-A146-1BDC91046964}"/>
          </ac:grpSpMkLst>
        </pc:grpChg>
        <pc:graphicFrameChg chg="mod">
          <ac:chgData name="Cristina Rodriguez Villalba" userId="8b341366-6b8b-4796-a330-2b1119a3c4d5" providerId="ADAL" clId="{825967F1-B160-4524-8F8D-105276C1988B}" dt="2022-05-20T09:43:11.228" v="1810"/>
          <ac:graphicFrameMkLst>
            <pc:docMk/>
            <pc:sldMk cId="2703615469" sldId="2147375837"/>
            <ac:graphicFrameMk id="3" creationId="{B706D322-D65F-4AA1-86D8-5989EFDC71B9}"/>
          </ac:graphicFrameMkLst>
        </pc:graphicFrameChg>
        <pc:picChg chg="del mod">
          <ac:chgData name="Cristina Rodriguez Villalba" userId="8b341366-6b8b-4796-a330-2b1119a3c4d5" providerId="ADAL" clId="{825967F1-B160-4524-8F8D-105276C1988B}" dt="2022-05-20T09:36:39.376" v="1626" actId="478"/>
          <ac:picMkLst>
            <pc:docMk/>
            <pc:sldMk cId="2703615469" sldId="2147375837"/>
            <ac:picMk id="52" creationId="{90005576-2C04-496C-A77E-09561F6FD159}"/>
          </ac:picMkLst>
        </pc:picChg>
        <pc:picChg chg="del mod">
          <ac:chgData name="Cristina Rodriguez Villalba" userId="8b341366-6b8b-4796-a330-2b1119a3c4d5" providerId="ADAL" clId="{825967F1-B160-4524-8F8D-105276C1988B}" dt="2022-05-20T09:40:14.436" v="1631" actId="478"/>
          <ac:picMkLst>
            <pc:docMk/>
            <pc:sldMk cId="2703615469" sldId="2147375837"/>
            <ac:picMk id="72" creationId="{53BED147-9A35-4EF3-B42F-6BAAD139C376}"/>
          </ac:picMkLst>
        </pc:picChg>
        <pc:cxnChg chg="del mod topLvl">
          <ac:chgData name="Cristina Rodriguez Villalba" userId="8b341366-6b8b-4796-a330-2b1119a3c4d5" providerId="ADAL" clId="{825967F1-B160-4524-8F8D-105276C1988B}" dt="2022-05-20T09:40:09.998" v="1630" actId="478"/>
          <ac:cxnSpMkLst>
            <pc:docMk/>
            <pc:sldMk cId="2703615469" sldId="2147375837"/>
            <ac:cxnSpMk id="21" creationId="{00000000-0000-0000-0000-000000000000}"/>
          </ac:cxnSpMkLst>
        </pc:cxnChg>
        <pc:cxnChg chg="mod ord">
          <ac:chgData name="Cristina Rodriguez Villalba" userId="8b341366-6b8b-4796-a330-2b1119a3c4d5" providerId="ADAL" clId="{825967F1-B160-4524-8F8D-105276C1988B}" dt="2022-05-20T09:41:54.989" v="1706"/>
          <ac:cxnSpMkLst>
            <pc:docMk/>
            <pc:sldMk cId="2703615469" sldId="2147375837"/>
            <ac:cxnSpMk id="48" creationId="{CA4A3689-DBE2-40CF-B5F3-2F5A7EF17177}"/>
          </ac:cxnSpMkLst>
        </pc:cxnChg>
        <pc:cxnChg chg="del mod">
          <ac:chgData name="Cristina Rodriguez Villalba" userId="8b341366-6b8b-4796-a330-2b1119a3c4d5" providerId="ADAL" clId="{825967F1-B160-4524-8F8D-105276C1988B}" dt="2022-05-20T09:39:51.104" v="1628" actId="478"/>
          <ac:cxnSpMkLst>
            <pc:docMk/>
            <pc:sldMk cId="2703615469" sldId="2147375837"/>
            <ac:cxnSpMk id="73" creationId="{69F7AC2F-397C-4C59-9A84-35FFC37B8D77}"/>
          </ac:cxnSpMkLst>
        </pc:cxnChg>
      </pc:sldChg>
      <pc:sldChg chg="addSp delSp modSp add mod">
        <pc:chgData name="Cristina Rodriguez Villalba" userId="8b341366-6b8b-4796-a330-2b1119a3c4d5" providerId="ADAL" clId="{825967F1-B160-4524-8F8D-105276C1988B}" dt="2022-05-20T09:43:07.820" v="1767"/>
        <pc:sldMkLst>
          <pc:docMk/>
          <pc:sldMk cId="231514485" sldId="2147375838"/>
        </pc:sldMkLst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4" creationId="{444E28E4-126B-4513-8568-8C2A86FD0469}"/>
          </ac:spMkLst>
        </pc:spChg>
        <pc:spChg chg="add del mod modVis">
          <ac:chgData name="Cristina Rodriguez Villalba" userId="8b341366-6b8b-4796-a330-2b1119a3c4d5" providerId="ADAL" clId="{825967F1-B160-4524-8F8D-105276C1988B}" dt="2022-05-20T09:43:07.816" v="1765"/>
          <ac:spMkLst>
            <pc:docMk/>
            <pc:sldMk cId="231514485" sldId="2147375838"/>
            <ac:spMk id="7" creationId="{CA996A3C-149D-4B91-AEAF-02ADF3F3EC52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8" creationId="{EF111281-EBC1-45F5-A61A-127302E518D7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1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1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1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2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33" creationId="{AC5F5B59-5E67-48B4-A99A-3F4E00B8539C}"/>
          </ac:spMkLst>
        </pc:spChg>
        <pc:spChg chg="mod">
          <ac:chgData name="Cristina Rodriguez Villalba" userId="8b341366-6b8b-4796-a330-2b1119a3c4d5" providerId="ADAL" clId="{825967F1-B160-4524-8F8D-105276C1988B}" dt="2022-05-20T09:43:07.760" v="1726" actId="948"/>
          <ac:spMkLst>
            <pc:docMk/>
            <pc:sldMk cId="231514485" sldId="2147375838"/>
            <ac:spMk id="39" creationId="{D022CD94-B6A3-40C7-940A-88A504441EE5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40" creationId="{0865407F-6427-4793-8B51-D87D5A39CAE4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44" creationId="{484F75DA-37A2-435D-A6CB-8F2EB6097144}"/>
          </ac:spMkLst>
        </pc:spChg>
        <pc:spChg chg="add mod">
          <ac:chgData name="Cristina Rodriguez Villalba" userId="8b341366-6b8b-4796-a330-2b1119a3c4d5" providerId="ADAL" clId="{825967F1-B160-4524-8F8D-105276C1988B}" dt="2022-05-20T09:41:17.738" v="1655" actId="20577"/>
          <ac:spMkLst>
            <pc:docMk/>
            <pc:sldMk cId="231514485" sldId="2147375838"/>
            <ac:spMk id="45" creationId="{E19F5FB5-A667-4B16-A155-6585CCF0487B}"/>
          </ac:spMkLst>
        </pc:spChg>
        <pc:spChg chg="del mod">
          <ac:chgData name="Cristina Rodriguez Villalba" userId="8b341366-6b8b-4796-a330-2b1119a3c4d5" providerId="ADAL" clId="{825967F1-B160-4524-8F8D-105276C1988B}" dt="2022-05-20T09:35:53.991" v="1539" actId="478"/>
          <ac:spMkLst>
            <pc:docMk/>
            <pc:sldMk cId="231514485" sldId="2147375838"/>
            <ac:spMk id="47" creationId="{FF9FBE67-958F-4435-B532-24C2FFC7DB1A}"/>
          </ac:spMkLst>
        </pc:spChg>
        <pc:spChg chg="mod">
          <ac:chgData name="Cristina Rodriguez Villalba" userId="8b341366-6b8b-4796-a330-2b1119a3c4d5" providerId="ADAL" clId="{825967F1-B160-4524-8F8D-105276C1988B}" dt="2022-05-20T09:36:08.500" v="1543" actId="1076"/>
          <ac:spMkLst>
            <pc:docMk/>
            <pc:sldMk cId="231514485" sldId="2147375838"/>
            <ac:spMk id="51" creationId="{37959DB6-0C44-4120-99AD-0D9F74990C6A}"/>
          </ac:spMkLst>
        </pc:spChg>
        <pc:spChg chg="mod">
          <ac:chgData name="Cristina Rodriguez Villalba" userId="8b341366-6b8b-4796-a330-2b1119a3c4d5" providerId="ADAL" clId="{825967F1-B160-4524-8F8D-105276C1988B}" dt="2022-05-20T09:35:46.597" v="1536" actId="20577"/>
          <ac:spMkLst>
            <pc:docMk/>
            <pc:sldMk cId="231514485" sldId="2147375838"/>
            <ac:spMk id="53" creationId="{E14C91CE-9993-4C65-8C72-33DADEF85B28}"/>
          </ac:spMkLst>
        </pc:spChg>
        <pc:spChg chg="del mod">
          <ac:chgData name="Cristina Rodriguez Villalba" userId="8b341366-6b8b-4796-a330-2b1119a3c4d5" providerId="ADAL" clId="{825967F1-B160-4524-8F8D-105276C1988B}" dt="2022-05-20T09:40:26.588" v="1633" actId="478"/>
          <ac:spMkLst>
            <pc:docMk/>
            <pc:sldMk cId="231514485" sldId="2147375838"/>
            <ac:spMk id="54" creationId="{E6A6582F-D705-47FC-ABDA-5C1665023F5E}"/>
          </ac:spMkLst>
        </pc:spChg>
        <pc:spChg chg="mod">
          <ac:chgData name="Cristina Rodriguez Villalba" userId="8b341366-6b8b-4796-a330-2b1119a3c4d5" providerId="ADAL" clId="{825967F1-B160-4524-8F8D-105276C1988B}" dt="2022-05-20T09:36:05.427" v="1542" actId="1076"/>
          <ac:spMkLst>
            <pc:docMk/>
            <pc:sldMk cId="231514485" sldId="2147375838"/>
            <ac:spMk id="62" creationId="{43466EB9-E8D7-4D80-AF4F-172F99D6F9E5}"/>
          </ac:spMkLst>
        </pc:spChg>
        <pc:spChg chg="del mod">
          <ac:chgData name="Cristina Rodriguez Villalba" userId="8b341366-6b8b-4796-a330-2b1119a3c4d5" providerId="ADAL" clId="{825967F1-B160-4524-8F8D-105276C1988B}" dt="2022-05-20T09:35:51.648" v="1538" actId="478"/>
          <ac:spMkLst>
            <pc:docMk/>
            <pc:sldMk cId="231514485" sldId="2147375838"/>
            <ac:spMk id="67" creationId="{35A9873B-3972-4077-A047-3036D9A3F019}"/>
          </ac:spMkLst>
        </pc:spChg>
        <pc:spChg chg="del mod">
          <ac:chgData name="Cristina Rodriguez Villalba" userId="8b341366-6b8b-4796-a330-2b1119a3c4d5" providerId="ADAL" clId="{825967F1-B160-4524-8F8D-105276C1988B}" dt="2022-05-20T09:35:56.580" v="1540" actId="478"/>
          <ac:spMkLst>
            <pc:docMk/>
            <pc:sldMk cId="231514485" sldId="2147375838"/>
            <ac:spMk id="70" creationId="{F0BA3873-4F23-4EFB-84A6-907220C27AB7}"/>
          </ac:spMkLst>
        </pc:spChg>
        <pc:spChg chg="del mod">
          <ac:chgData name="Cristina Rodriguez Villalba" userId="8b341366-6b8b-4796-a330-2b1119a3c4d5" providerId="ADAL" clId="{825967F1-B160-4524-8F8D-105276C1988B}" dt="2022-05-20T09:35:49.873" v="1537" actId="478"/>
          <ac:spMkLst>
            <pc:docMk/>
            <pc:sldMk cId="231514485" sldId="2147375838"/>
            <ac:spMk id="75" creationId="{C1865D26-770B-4EA2-8A44-1D67B0CF78C1}"/>
          </ac:spMkLst>
        </pc:spChg>
        <pc:spChg chg="mod">
          <ac:chgData name="Cristina Rodriguez Villalba" userId="8b341366-6b8b-4796-a330-2b1119a3c4d5" providerId="ADAL" clId="{825967F1-B160-4524-8F8D-105276C1988B}" dt="2022-05-20T09:35:39.110" v="1527"/>
          <ac:spMkLst>
            <pc:docMk/>
            <pc:sldMk cId="231514485" sldId="2147375838"/>
            <ac:spMk id="76" creationId="{F29AB2D3-43DF-47A0-886F-BBC1362D16F6}"/>
          </ac:spMkLst>
        </pc:s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1" creationId="{00000000-0000-0000-0000-000000000000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2" creationId="{5D736DE2-7694-4004-9DEA-2391CED91C8F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5" creationId="{D0BCE8B9-055E-49D6-8086-C797AF92AF04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6" creationId="{B16A46AF-CB21-4106-8390-E23FA2284054}"/>
          </ac:grpSpMkLst>
        </pc:grpChg>
        <pc:grpChg chg="del mod">
          <ac:chgData name="Cristina Rodriguez Villalba" userId="8b341366-6b8b-4796-a330-2b1119a3c4d5" providerId="ADAL" clId="{825967F1-B160-4524-8F8D-105276C1988B}" dt="2022-05-20T09:36:26.247" v="1621" actId="478"/>
          <ac:grpSpMkLst>
            <pc:docMk/>
            <pc:sldMk cId="231514485" sldId="2147375838"/>
            <ac:grpSpMk id="9" creationId="{E48F94B9-2386-48E6-9E25-C11A765FF7B5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12" creationId="{C5C8D1B5-4578-46EB-BB8D-D53A30164640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14" creationId="{FBEE5CF9-2D36-4264-8FA2-D53DF3A6AB2B}"/>
          </ac:grpSpMkLst>
        </pc:grpChg>
        <pc:grpChg chg="mod topLvl">
          <ac:chgData name="Cristina Rodriguez Villalba" userId="8b341366-6b8b-4796-a330-2b1119a3c4d5" providerId="ADAL" clId="{825967F1-B160-4524-8F8D-105276C1988B}" dt="2022-05-20T09:36:26.247" v="1621" actId="478"/>
          <ac:grpSpMkLst>
            <pc:docMk/>
            <pc:sldMk cId="231514485" sldId="2147375838"/>
            <ac:grpSpMk id="15" creationId="{6437F1D1-D2D7-4954-B3B5-955D942F93B7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42" creationId="{80AD74FA-4C31-4E49-8295-29401366680B}"/>
          </ac:grpSpMkLst>
        </pc:grpChg>
        <pc:grpChg chg="del mod">
          <ac:chgData name="Cristina Rodriguez Villalba" userId="8b341366-6b8b-4796-a330-2b1119a3c4d5" providerId="ADAL" clId="{825967F1-B160-4524-8F8D-105276C1988B}" dt="2022-05-20T09:36:18.238" v="1583" actId="478"/>
          <ac:grpSpMkLst>
            <pc:docMk/>
            <pc:sldMk cId="231514485" sldId="2147375838"/>
            <ac:grpSpMk id="43" creationId="{57C6BB1B-219E-4046-AAA5-53F8A5651F70}"/>
          </ac:grpSpMkLst>
        </pc:grpChg>
        <pc:grpChg chg="mod">
          <ac:chgData name="Cristina Rodriguez Villalba" userId="8b341366-6b8b-4796-a330-2b1119a3c4d5" providerId="ADAL" clId="{825967F1-B160-4524-8F8D-105276C1988B}" dt="2022-05-20T09:35:39.110" v="1527"/>
          <ac:grpSpMkLst>
            <pc:docMk/>
            <pc:sldMk cId="231514485" sldId="2147375838"/>
            <ac:grpSpMk id="50" creationId="{2724DFDA-4CCD-4E09-A3C7-D71555BBF820}"/>
          </ac:grpSpMkLst>
        </pc:grpChg>
        <pc:grpChg chg="del mod">
          <ac:chgData name="Cristina Rodriguez Villalba" userId="8b341366-6b8b-4796-a330-2b1119a3c4d5" providerId="ADAL" clId="{825967F1-B160-4524-8F8D-105276C1988B}" dt="2022-05-20T09:36:10.458" v="1544" actId="478"/>
          <ac:grpSpMkLst>
            <pc:docMk/>
            <pc:sldMk cId="231514485" sldId="2147375838"/>
            <ac:grpSpMk id="66" creationId="{CFB69E18-5ACA-4A0C-A05A-068784F77625}"/>
          </ac:grpSpMkLst>
        </pc:grpChg>
        <pc:grpChg chg="del mod">
          <ac:chgData name="Cristina Rodriguez Villalba" userId="8b341366-6b8b-4796-a330-2b1119a3c4d5" providerId="ADAL" clId="{825967F1-B160-4524-8F8D-105276C1988B}" dt="2022-05-20T09:35:56.580" v="1540" actId="478"/>
          <ac:grpSpMkLst>
            <pc:docMk/>
            <pc:sldMk cId="231514485" sldId="2147375838"/>
            <ac:grpSpMk id="69" creationId="{CB8F2F82-AAFC-41E1-A146-1BDC91046964}"/>
          </ac:grpSpMkLst>
        </pc:grpChg>
        <pc:graphicFrameChg chg="mod">
          <ac:chgData name="Cristina Rodriguez Villalba" userId="8b341366-6b8b-4796-a330-2b1119a3c4d5" providerId="ADAL" clId="{825967F1-B160-4524-8F8D-105276C1988B}" dt="2022-05-20T09:43:07.820" v="1767"/>
          <ac:graphicFrameMkLst>
            <pc:docMk/>
            <pc:sldMk cId="231514485" sldId="2147375838"/>
            <ac:graphicFrameMk id="3" creationId="{B706D322-D65F-4AA1-86D8-5989EFDC71B9}"/>
          </ac:graphicFrameMkLst>
        </pc:graphicFrameChg>
        <pc:picChg chg="mod">
          <ac:chgData name="Cristina Rodriguez Villalba" userId="8b341366-6b8b-4796-a330-2b1119a3c4d5" providerId="ADAL" clId="{825967F1-B160-4524-8F8D-105276C1988B}" dt="2022-05-20T09:35:39.110" v="1527"/>
          <ac:picMkLst>
            <pc:docMk/>
            <pc:sldMk cId="231514485" sldId="2147375838"/>
            <ac:picMk id="23" creationId="{FB1450C6-98C3-476B-8FFF-E20306A40EC5}"/>
          </ac:picMkLst>
        </pc:picChg>
        <pc:picChg chg="del mod">
          <ac:chgData name="Cristina Rodriguez Villalba" userId="8b341366-6b8b-4796-a330-2b1119a3c4d5" providerId="ADAL" clId="{825967F1-B160-4524-8F8D-105276C1988B}" dt="2022-05-20T09:36:18.238" v="1583" actId="478"/>
          <ac:picMkLst>
            <pc:docMk/>
            <pc:sldMk cId="231514485" sldId="2147375838"/>
            <ac:picMk id="49" creationId="{3F75461F-7B84-4393-834B-1588F66AE0A3}"/>
          </ac:picMkLst>
        </pc:picChg>
        <pc:picChg chg="mod">
          <ac:chgData name="Cristina Rodriguez Villalba" userId="8b341366-6b8b-4796-a330-2b1119a3c4d5" providerId="ADAL" clId="{825967F1-B160-4524-8F8D-105276C1988B}" dt="2022-05-20T09:36:22.350" v="1620" actId="1035"/>
          <ac:picMkLst>
            <pc:docMk/>
            <pc:sldMk cId="231514485" sldId="2147375838"/>
            <ac:picMk id="52" creationId="{90005576-2C04-496C-A77E-09561F6FD159}"/>
          </ac:picMkLst>
        </pc:picChg>
        <pc:picChg chg="del mod">
          <ac:chgData name="Cristina Rodriguez Villalba" userId="8b341366-6b8b-4796-a330-2b1119a3c4d5" providerId="ADAL" clId="{825967F1-B160-4524-8F8D-105276C1988B}" dt="2022-05-20T09:36:10.458" v="1544" actId="478"/>
          <ac:picMkLst>
            <pc:docMk/>
            <pc:sldMk cId="231514485" sldId="2147375838"/>
            <ac:picMk id="68" creationId="{03A5B23B-4CB3-4C3A-8194-002959EB12ED}"/>
          </ac:picMkLst>
        </pc:picChg>
        <pc:picChg chg="mod">
          <ac:chgData name="Cristina Rodriguez Villalba" userId="8b341366-6b8b-4796-a330-2b1119a3c4d5" providerId="ADAL" clId="{825967F1-B160-4524-8F8D-105276C1988B}" dt="2022-05-20T09:36:14.458" v="1582" actId="1035"/>
          <ac:picMkLst>
            <pc:docMk/>
            <pc:sldMk cId="231514485" sldId="2147375838"/>
            <ac:picMk id="72" creationId="{53BED147-9A35-4EF3-B42F-6BAAD139C376}"/>
          </ac:picMkLst>
        </pc:picChg>
        <pc:cxnChg chg="del mod">
          <ac:chgData name="Cristina Rodriguez Villalba" userId="8b341366-6b8b-4796-a330-2b1119a3c4d5" providerId="ADAL" clId="{825967F1-B160-4524-8F8D-105276C1988B}" dt="2022-05-20T09:35:59.150" v="1541" actId="478"/>
          <ac:cxnSpMkLst>
            <pc:docMk/>
            <pc:sldMk cId="231514485" sldId="2147375838"/>
            <ac:cxnSpMk id="21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9:35:39.110" v="1527"/>
          <ac:cxnSpMkLst>
            <pc:docMk/>
            <pc:sldMk cId="231514485" sldId="2147375838"/>
            <ac:cxnSpMk id="22" creationId="{00000000-0000-0000-0000-000000000000}"/>
          </ac:cxnSpMkLst>
        </pc:cxnChg>
        <pc:cxnChg chg="mod">
          <ac:chgData name="Cristina Rodriguez Villalba" userId="8b341366-6b8b-4796-a330-2b1119a3c4d5" providerId="ADAL" clId="{825967F1-B160-4524-8F8D-105276C1988B}" dt="2022-05-20T09:35:39.110" v="1527"/>
          <ac:cxnSpMkLst>
            <pc:docMk/>
            <pc:sldMk cId="231514485" sldId="2147375838"/>
            <ac:cxnSpMk id="27" creationId="{E1ADCD76-C12D-4FFB-9565-9F8A357B935D}"/>
          </ac:cxnSpMkLst>
        </pc:cxnChg>
        <pc:cxnChg chg="mod">
          <ac:chgData name="Cristina Rodriguez Villalba" userId="8b341366-6b8b-4796-a330-2b1119a3c4d5" providerId="ADAL" clId="{825967F1-B160-4524-8F8D-105276C1988B}" dt="2022-05-20T09:35:39.110" v="1527"/>
          <ac:cxnSpMkLst>
            <pc:docMk/>
            <pc:sldMk cId="231514485" sldId="2147375838"/>
            <ac:cxnSpMk id="48" creationId="{CA4A3689-DBE2-40CF-B5F3-2F5A7EF17177}"/>
          </ac:cxnSpMkLst>
        </pc:cxnChg>
        <pc:cxnChg chg="del mod topLvl">
          <ac:chgData name="Cristina Rodriguez Villalba" userId="8b341366-6b8b-4796-a330-2b1119a3c4d5" providerId="ADAL" clId="{825967F1-B160-4524-8F8D-105276C1988B}" dt="2022-05-20T09:36:26.247" v="1621" actId="478"/>
          <ac:cxnSpMkLst>
            <pc:docMk/>
            <pc:sldMk cId="231514485" sldId="2147375838"/>
            <ac:cxnSpMk id="73" creationId="{69F7AC2F-397C-4C59-9A84-35FFC37B8D77}"/>
          </ac:cxnSpMkLst>
        </pc:cxnChg>
      </pc:sldChg>
      <pc:sldChg chg="addSp delSp modSp mod">
        <pc:chgData name="Cristina Rodriguez Villalba" userId="8b341366-6b8b-4796-a330-2b1119a3c4d5" providerId="ADAL" clId="{825967F1-B160-4524-8F8D-105276C1988B}" dt="2022-05-20T10:21:31.087" v="1982" actId="20577"/>
        <pc:sldMkLst>
          <pc:docMk/>
          <pc:sldMk cId="178942994" sldId="2147375839"/>
        </pc:sldMkLst>
        <pc:spChg chg="add del">
          <ac:chgData name="Cristina Rodriguez Villalba" userId="8b341366-6b8b-4796-a330-2b1119a3c4d5" providerId="ADAL" clId="{825967F1-B160-4524-8F8D-105276C1988B}" dt="2022-05-20T09:41:43.938" v="1657" actId="11529"/>
          <ac:spMkLst>
            <pc:docMk/>
            <pc:sldMk cId="178942994" sldId="2147375839"/>
            <ac:spMk id="7" creationId="{7598C82B-7B2E-4E53-BED3-86129AFAC197}"/>
          </ac:spMkLst>
        </pc:spChg>
        <pc:spChg chg="mod">
          <ac:chgData name="Cristina Rodriguez Villalba" userId="8b341366-6b8b-4796-a330-2b1119a3c4d5" providerId="ADAL" clId="{825967F1-B160-4524-8F8D-105276C1988B}" dt="2022-05-20T10:21:31.087" v="1982" actId="20577"/>
          <ac:spMkLst>
            <pc:docMk/>
            <pc:sldMk cId="178942994" sldId="2147375839"/>
            <ac:spMk id="47" creationId="{FF9FBE67-958F-4435-B532-24C2FFC7DB1A}"/>
          </ac:spMkLst>
        </pc:spChg>
        <pc:spChg chg="mod">
          <ac:chgData name="Cristina Rodriguez Villalba" userId="8b341366-6b8b-4796-a330-2b1119a3c4d5" providerId="ADAL" clId="{825967F1-B160-4524-8F8D-105276C1988B}" dt="2022-05-20T10:17:12.938" v="1952" actId="14100"/>
          <ac:spMkLst>
            <pc:docMk/>
            <pc:sldMk cId="178942994" sldId="2147375839"/>
            <ac:spMk id="54" creationId="{8DC6ACF3-8B69-4E77-81E1-0A35AF5A9F43}"/>
          </ac:spMkLst>
        </pc:spChg>
        <pc:spChg chg="add mod">
          <ac:chgData name="Cristina Rodriguez Villalba" userId="8b341366-6b8b-4796-a330-2b1119a3c4d5" providerId="ADAL" clId="{825967F1-B160-4524-8F8D-105276C1988B}" dt="2022-05-20T10:05:19.153" v="1946" actId="1076"/>
          <ac:spMkLst>
            <pc:docMk/>
            <pc:sldMk cId="178942994" sldId="2147375839"/>
            <ac:spMk id="58" creationId="{020DDB5B-B3C8-463D-BFD6-2C1A5856F023}"/>
          </ac:spMkLst>
        </pc:spChg>
        <pc:spChg chg="mod">
          <ac:chgData name="Cristina Rodriguez Villalba" userId="8b341366-6b8b-4796-a330-2b1119a3c4d5" providerId="ADAL" clId="{825967F1-B160-4524-8F8D-105276C1988B}" dt="2022-05-20T10:19:03.991" v="1976" actId="20577"/>
          <ac:spMkLst>
            <pc:docMk/>
            <pc:sldMk cId="178942994" sldId="2147375839"/>
            <ac:spMk id="67" creationId="{35A9873B-3972-4077-A047-3036D9A3F019}"/>
          </ac:spMkLst>
        </pc:spChg>
        <pc:spChg chg="mod">
          <ac:chgData name="Cristina Rodriguez Villalba" userId="8b341366-6b8b-4796-a330-2b1119a3c4d5" providerId="ADAL" clId="{825967F1-B160-4524-8F8D-105276C1988B}" dt="2022-05-20T10:20:46.996" v="1981" actId="20577"/>
          <ac:spMkLst>
            <pc:docMk/>
            <pc:sldMk cId="178942994" sldId="2147375839"/>
            <ac:spMk id="75" creationId="{C1865D26-770B-4EA2-8A44-1D67B0CF78C1}"/>
          </ac:spMkLst>
        </pc:spChg>
      </pc:sldChg>
      <pc:sldChg chg="modSp add del mod">
        <pc:chgData name="Cristina Rodriguez Villalba" userId="8b341366-6b8b-4796-a330-2b1119a3c4d5" providerId="ADAL" clId="{825967F1-B160-4524-8F8D-105276C1988B}" dt="2022-05-20T10:45:56.800" v="2292" actId="47"/>
        <pc:sldMkLst>
          <pc:docMk/>
          <pc:sldMk cId="681548050" sldId="2147375840"/>
        </pc:sldMkLst>
        <pc:spChg chg="mod">
          <ac:chgData name="Cristina Rodriguez Villalba" userId="8b341366-6b8b-4796-a330-2b1119a3c4d5" providerId="ADAL" clId="{825967F1-B160-4524-8F8D-105276C1988B}" dt="2022-05-20T10:34:12.967" v="2180"/>
          <ac:spMkLst>
            <pc:docMk/>
            <pc:sldMk cId="681548050" sldId="2147375840"/>
            <ac:spMk id="67" creationId="{35A9873B-3972-4077-A047-3036D9A3F019}"/>
          </ac:spMkLst>
        </pc:spChg>
        <pc:graphicFrameChg chg="mod">
          <ac:chgData name="Cristina Rodriguez Villalba" userId="8b341366-6b8b-4796-a330-2b1119a3c4d5" providerId="ADAL" clId="{825967F1-B160-4524-8F8D-105276C1988B}" dt="2022-05-20T10:33:48.817" v="2179"/>
          <ac:graphicFrameMkLst>
            <pc:docMk/>
            <pc:sldMk cId="681548050" sldId="2147375840"/>
            <ac:graphicFrameMk id="3" creationId="{B706D322-D65F-4AA1-86D8-5989EFDC71B9}"/>
          </ac:graphicFrameMkLst>
        </pc:graphicFrameChg>
      </pc:sldChg>
      <pc:sldChg chg="addSp delSp modSp add mod ord">
        <pc:chgData name="Cristina Rodriguez Villalba" userId="8b341366-6b8b-4796-a330-2b1119a3c4d5" providerId="ADAL" clId="{825967F1-B160-4524-8F8D-105276C1988B}" dt="2022-05-20T10:37:52.798" v="2289" actId="1076"/>
        <pc:sldMkLst>
          <pc:docMk/>
          <pc:sldMk cId="3142303209" sldId="2147375841"/>
        </pc:sldMkLst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3" creationId="{67FC32F7-3AC7-4E51-9887-9CB4B0C61C58}"/>
          </ac:spMkLst>
        </pc:spChg>
        <pc:spChg chg="add del mod modVis">
          <ac:chgData name="Cristina Rodriguez Villalba" userId="8b341366-6b8b-4796-a330-2b1119a3c4d5" providerId="ADAL" clId="{825967F1-B160-4524-8F8D-105276C1988B}" dt="2022-05-20T10:29:34.755" v="2042"/>
          <ac:spMkLst>
            <pc:docMk/>
            <pc:sldMk cId="3142303209" sldId="2147375841"/>
            <ac:spMk id="4" creationId="{FA489C0F-BBE8-4C22-B6E1-265E8FFD29F5}"/>
          </ac:spMkLst>
        </pc:spChg>
        <pc:spChg chg="mod">
          <ac:chgData name="Cristina Rodriguez Villalba" userId="8b341366-6b8b-4796-a330-2b1119a3c4d5" providerId="ADAL" clId="{825967F1-B160-4524-8F8D-105276C1988B}" dt="2022-05-20T10:29:34.655" v="2003" actId="948"/>
          <ac:spMkLst>
            <pc:docMk/>
            <pc:sldMk cId="3142303209" sldId="2147375841"/>
            <ac:spMk id="5" creationId="{E8EEA1D4-065C-40A5-95F5-687EE246F171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9" creationId="{E865492A-DD6C-4BB3-8C62-C721DC818FF3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1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1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2:56.252" v="2166" actId="20577"/>
          <ac:spMkLst>
            <pc:docMk/>
            <pc:sldMk cId="3142303209" sldId="2147375841"/>
            <ac:spMk id="15" creationId="{608B5363-6065-4839-9FB3-628C219AFD94}"/>
          </ac:spMkLst>
        </pc:spChg>
        <pc:spChg chg="mod">
          <ac:chgData name="Cristina Rodriguez Villalba" userId="8b341366-6b8b-4796-a330-2b1119a3c4d5" providerId="ADAL" clId="{825967F1-B160-4524-8F8D-105276C1988B}" dt="2022-05-20T10:32:41.313" v="2133" actId="20577"/>
          <ac:spMkLst>
            <pc:docMk/>
            <pc:sldMk cId="3142303209" sldId="2147375841"/>
            <ac:spMk id="16" creationId="{9D40C6C6-B427-4B90-9EE2-DF7B8A862C0E}"/>
          </ac:spMkLst>
        </pc:spChg>
        <pc:spChg chg="mod">
          <ac:chgData name="Cristina Rodriguez Villalba" userId="8b341366-6b8b-4796-a330-2b1119a3c4d5" providerId="ADAL" clId="{825967F1-B160-4524-8F8D-105276C1988B}" dt="2022-05-20T10:30:54.197" v="2098" actId="20577"/>
          <ac:spMkLst>
            <pc:docMk/>
            <pc:sldMk cId="3142303209" sldId="2147375841"/>
            <ac:spMk id="17" creationId="{D0DA8ED4-4734-41D9-931C-91B2BFB21B7D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18" creationId="{4D8A1921-F36B-4864-852C-26EE5EB83CB0}"/>
          </ac:spMkLst>
        </pc:spChg>
        <pc:spChg chg="del mod topLvl">
          <ac:chgData name="Cristina Rodriguez Villalba" userId="8b341366-6b8b-4796-a330-2b1119a3c4d5" providerId="ADAL" clId="{825967F1-B160-4524-8F8D-105276C1988B}" dt="2022-05-20T10:34:42.651" v="2188" actId="478"/>
          <ac:spMkLst>
            <pc:docMk/>
            <pc:sldMk cId="3142303209" sldId="2147375841"/>
            <ac:spMk id="33" creationId="{B9060343-39F3-4616-ADCD-8E4992C7FA63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0" creationId="{00000000-0000-0000-0000-000000000000}"/>
          </ac:spMkLst>
        </pc:spChg>
        <pc:spChg chg="add del mod">
          <ac:chgData name="Cristina Rodriguez Villalba" userId="8b341366-6b8b-4796-a330-2b1119a3c4d5" providerId="ADAL" clId="{825967F1-B160-4524-8F8D-105276C1988B}" dt="2022-05-20T10:33:21.199" v="2170" actId="478"/>
          <ac:spMkLst>
            <pc:docMk/>
            <pc:sldMk cId="3142303209" sldId="2147375841"/>
            <ac:spMk id="5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5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6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6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6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6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13.815" v="2215" actId="1036"/>
          <ac:spMkLst>
            <pc:docMk/>
            <pc:sldMk cId="3142303209" sldId="2147375841"/>
            <ac:spMk id="6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13.815" v="2215" actId="1036"/>
          <ac:spMkLst>
            <pc:docMk/>
            <pc:sldMk cId="3142303209" sldId="2147375841"/>
            <ac:spMk id="65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13.815" v="2215" actId="1036"/>
          <ac:spMkLst>
            <pc:docMk/>
            <pc:sldMk cId="3142303209" sldId="2147375841"/>
            <ac:spMk id="6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13.815" v="2215" actId="1036"/>
          <ac:spMkLst>
            <pc:docMk/>
            <pc:sldMk cId="3142303209" sldId="2147375841"/>
            <ac:spMk id="6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6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69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0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4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6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1:21.934" v="2099" actId="478"/>
          <ac:spMkLst>
            <pc:docMk/>
            <pc:sldMk cId="3142303209" sldId="2147375841"/>
            <ac:spMk id="77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4:30.626" v="2181"/>
          <ac:spMkLst>
            <pc:docMk/>
            <pc:sldMk cId="3142303209" sldId="2147375841"/>
            <ac:spMk id="78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4:36.723" v="2186" actId="20577"/>
          <ac:spMkLst>
            <pc:docMk/>
            <pc:sldMk cId="3142303209" sldId="2147375841"/>
            <ac:spMk id="7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40.286" v="2228" actId="1076"/>
          <ac:spMkLst>
            <pc:docMk/>
            <pc:sldMk cId="3142303209" sldId="2147375841"/>
            <ac:spMk id="8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6:01.837" v="2241" actId="20577"/>
          <ac:spMkLst>
            <pc:docMk/>
            <pc:sldMk cId="3142303209" sldId="2147375841"/>
            <ac:spMk id="81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46.300" v="2229"/>
          <ac:spMkLst>
            <pc:docMk/>
            <pc:sldMk cId="3142303209" sldId="2147375841"/>
            <ac:spMk id="82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6:04.848" v="2246" actId="20577"/>
          <ac:spMkLst>
            <pc:docMk/>
            <pc:sldMk cId="3142303209" sldId="2147375841"/>
            <ac:spMk id="83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5:57.785" v="2232" actId="14100"/>
          <ac:spMkLst>
            <pc:docMk/>
            <pc:sldMk cId="3142303209" sldId="2147375841"/>
            <ac:spMk id="84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6:07.739" v="2249" actId="20577"/>
          <ac:spMkLst>
            <pc:docMk/>
            <pc:sldMk cId="3142303209" sldId="2147375841"/>
            <ac:spMk id="8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86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25.819" v="2171" actId="478"/>
          <ac:spMkLst>
            <pc:docMk/>
            <pc:sldMk cId="3142303209" sldId="2147375841"/>
            <ac:spMk id="8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8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89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0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4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6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9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6:23.798" v="2253" actId="20577"/>
          <ac:spMkLst>
            <pc:docMk/>
            <pc:sldMk cId="3142303209" sldId="2147375841"/>
            <ac:spMk id="104" creationId="{5BC6864A-5250-4BF9-88F9-A615D9C7A778}"/>
          </ac:spMkLst>
        </pc:spChg>
        <pc:spChg chg="mod">
          <ac:chgData name="Cristina Rodriguez Villalba" userId="8b341366-6b8b-4796-a330-2b1119a3c4d5" providerId="ADAL" clId="{825967F1-B160-4524-8F8D-105276C1988B}" dt="2022-05-20T10:37:09.567" v="2268" actId="1076"/>
          <ac:spMkLst>
            <pc:docMk/>
            <pc:sldMk cId="3142303209" sldId="2147375841"/>
            <ac:spMk id="106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7:13.253" v="2269" actId="1076"/>
          <ac:spMkLst>
            <pc:docMk/>
            <pc:sldMk cId="3142303209" sldId="2147375841"/>
            <ac:spMk id="10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4.691" v="2256" actId="478"/>
          <ac:spMkLst>
            <pc:docMk/>
            <pc:sldMk cId="3142303209" sldId="2147375841"/>
            <ac:spMk id="10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4.691" v="2256" actId="478"/>
          <ac:spMkLst>
            <pc:docMk/>
            <pc:sldMk cId="3142303209" sldId="2147375841"/>
            <ac:spMk id="109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3.142" v="2167" actId="478"/>
          <ac:spMkLst>
            <pc:docMk/>
            <pc:sldMk cId="3142303209" sldId="2147375841"/>
            <ac:spMk id="110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18.309" v="2168" actId="478"/>
          <ac:spMkLst>
            <pc:docMk/>
            <pc:sldMk cId="3142303209" sldId="2147375841"/>
            <ac:spMk id="11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4.691" v="2256" actId="478"/>
          <ac:spMkLst>
            <pc:docMk/>
            <pc:sldMk cId="3142303209" sldId="2147375841"/>
            <ac:spMk id="11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1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1.022" v="2255" actId="478"/>
          <ac:spMkLst>
            <pc:docMk/>
            <pc:sldMk cId="3142303209" sldId="2147375841"/>
            <ac:spMk id="114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1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1.022" v="2255" actId="478"/>
          <ac:spMkLst>
            <pc:docMk/>
            <pc:sldMk cId="3142303209" sldId="2147375841"/>
            <ac:spMk id="116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1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1.022" v="2255" actId="478"/>
          <ac:spMkLst>
            <pc:docMk/>
            <pc:sldMk cId="3142303209" sldId="2147375841"/>
            <ac:spMk id="11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19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41.022" v="2255" actId="478"/>
          <ac:spMkLst>
            <pc:docMk/>
            <pc:sldMk cId="3142303209" sldId="2147375841"/>
            <ac:spMk id="120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2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2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2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24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2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5:48.858" v="2230" actId="478"/>
          <ac:spMkLst>
            <pc:docMk/>
            <pc:sldMk cId="3142303209" sldId="2147375841"/>
            <ac:spMk id="126" creationId="{863F5B04-9E49-4A3D-8375-9A46DA639533}"/>
          </ac:spMkLst>
        </pc:spChg>
        <pc:spChg chg="del mod">
          <ac:chgData name="Cristina Rodriguez Villalba" userId="8b341366-6b8b-4796-a330-2b1119a3c4d5" providerId="ADAL" clId="{825967F1-B160-4524-8F8D-105276C1988B}" dt="2022-05-20T10:33:31.305" v="2172" actId="478"/>
          <ac:spMkLst>
            <pc:docMk/>
            <pc:sldMk cId="3142303209" sldId="2147375841"/>
            <ac:spMk id="127" creationId="{8F289EBF-6D91-48EB-AF67-B03B10B303E9}"/>
          </ac:spMkLst>
        </pc:spChg>
        <pc:spChg chg="mod">
          <ac:chgData name="Cristina Rodriguez Villalba" userId="8b341366-6b8b-4796-a330-2b1119a3c4d5" providerId="ADAL" clId="{825967F1-B160-4524-8F8D-105276C1988B}" dt="2022-05-20T10:36:21.864" v="2252" actId="20577"/>
          <ac:spMkLst>
            <pc:docMk/>
            <pc:sldMk cId="3142303209" sldId="2147375841"/>
            <ac:spMk id="128" creationId="{6E78796C-D642-4FE4-89B2-C545759AF8CE}"/>
          </ac:spMkLst>
        </pc:spChg>
        <pc:spChg chg="del mod">
          <ac:chgData name="Cristina Rodriguez Villalba" userId="8b341366-6b8b-4796-a330-2b1119a3c4d5" providerId="ADAL" clId="{825967F1-B160-4524-8F8D-105276C1988B}" dt="2022-05-20T10:33:31.305" v="2172" actId="478"/>
          <ac:spMkLst>
            <pc:docMk/>
            <pc:sldMk cId="3142303209" sldId="2147375841"/>
            <ac:spMk id="129" creationId="{E2FC9F5D-879B-43C6-80B1-1697E8063C16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0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4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5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6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7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8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39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7:52.798" v="2289" actId="1076"/>
          <ac:spMkLst>
            <pc:docMk/>
            <pc:sldMk cId="3142303209" sldId="2147375841"/>
            <ac:spMk id="140" creationId="{00000000-0000-0000-0000-000000000000}"/>
          </ac:spMkLst>
        </pc:spChg>
        <pc:spChg chg="mod">
          <ac:chgData name="Cristina Rodriguez Villalba" userId="8b341366-6b8b-4796-a330-2b1119a3c4d5" providerId="ADAL" clId="{825967F1-B160-4524-8F8D-105276C1988B}" dt="2022-05-20T10:37:41.973" v="2287" actId="1076"/>
          <ac:spMkLst>
            <pc:docMk/>
            <pc:sldMk cId="3142303209" sldId="2147375841"/>
            <ac:spMk id="141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42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43" creationId="{00000000-0000-0000-0000-000000000000}"/>
          </ac:spMkLst>
        </pc:spChg>
        <pc:spChg chg="del mod">
          <ac:chgData name="Cristina Rodriguez Villalba" userId="8b341366-6b8b-4796-a330-2b1119a3c4d5" providerId="ADAL" clId="{825967F1-B160-4524-8F8D-105276C1988B}" dt="2022-05-20T10:33:33.093" v="2173" actId="478"/>
          <ac:spMkLst>
            <pc:docMk/>
            <pc:sldMk cId="3142303209" sldId="2147375841"/>
            <ac:spMk id="144" creationId="{13826601-18BB-468D-9665-BAB75FAEBB89}"/>
          </ac:spMkLst>
        </pc:spChg>
        <pc:spChg chg="mod">
          <ac:chgData name="Cristina Rodriguez Villalba" userId="8b341366-6b8b-4796-a330-2b1119a3c4d5" providerId="ADAL" clId="{825967F1-B160-4524-8F8D-105276C1988B}" dt="2022-05-20T10:36:19.908" v="2251" actId="20577"/>
          <ac:spMkLst>
            <pc:docMk/>
            <pc:sldMk cId="3142303209" sldId="2147375841"/>
            <ac:spMk id="145" creationId="{3006B7CE-1C98-451E-A129-53E64F7F5708}"/>
          </ac:spMkLst>
        </pc:spChg>
        <pc:spChg chg="del mod">
          <ac:chgData name="Cristina Rodriguez Villalba" userId="8b341366-6b8b-4796-a330-2b1119a3c4d5" providerId="ADAL" clId="{825967F1-B160-4524-8F8D-105276C1988B}" dt="2022-05-20T10:33:31.305" v="2172" actId="478"/>
          <ac:spMkLst>
            <pc:docMk/>
            <pc:sldMk cId="3142303209" sldId="2147375841"/>
            <ac:spMk id="146" creationId="{919A5BC6-93AC-4E0B-8727-CAAD076941BE}"/>
          </ac:spMkLst>
        </pc:spChg>
        <pc:spChg chg="del mod">
          <ac:chgData name="Cristina Rodriguez Villalba" userId="8b341366-6b8b-4796-a330-2b1119a3c4d5" providerId="ADAL" clId="{825967F1-B160-4524-8F8D-105276C1988B}" dt="2022-05-20T10:33:33.901" v="2174" actId="478"/>
          <ac:spMkLst>
            <pc:docMk/>
            <pc:sldMk cId="3142303209" sldId="2147375841"/>
            <ac:spMk id="147" creationId="{1A24AE3A-7A1C-461E-908F-05BD65408CCF}"/>
          </ac:spMkLst>
        </pc:spChg>
        <pc:spChg chg="del mod">
          <ac:chgData name="Cristina Rodriguez Villalba" userId="8b341366-6b8b-4796-a330-2b1119a3c4d5" providerId="ADAL" clId="{825967F1-B160-4524-8F8D-105276C1988B}" dt="2022-05-20T10:33:31.305" v="2172" actId="478"/>
          <ac:spMkLst>
            <pc:docMk/>
            <pc:sldMk cId="3142303209" sldId="2147375841"/>
            <ac:spMk id="148" creationId="{7E61FD41-0C12-4D95-ABBA-F26FBD12EC7F}"/>
          </ac:spMkLst>
        </pc:spChg>
        <pc:spChg chg="del mod">
          <ac:chgData name="Cristina Rodriguez Villalba" userId="8b341366-6b8b-4796-a330-2b1119a3c4d5" providerId="ADAL" clId="{825967F1-B160-4524-8F8D-105276C1988B}" dt="2022-05-20T10:33:34.823" v="2175" actId="478"/>
          <ac:spMkLst>
            <pc:docMk/>
            <pc:sldMk cId="3142303209" sldId="2147375841"/>
            <ac:spMk id="149" creationId="{557FF24D-DE33-4C35-A4B0-95E4A78F3A5A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50" creationId="{F6577DC1-2628-4FC3-850C-13D098C842C1}"/>
          </ac:spMkLst>
        </pc:spChg>
        <pc:spChg chg="mod">
          <ac:chgData name="Cristina Rodriguez Villalba" userId="8b341366-6b8b-4796-a330-2b1119a3c4d5" providerId="ADAL" clId="{825967F1-B160-4524-8F8D-105276C1988B}" dt="2022-05-20T10:30:28.855" v="2090" actId="1037"/>
          <ac:spMkLst>
            <pc:docMk/>
            <pc:sldMk cId="3142303209" sldId="2147375841"/>
            <ac:spMk id="151" creationId="{E26A8CE1-A828-441B-B814-A31548FE65E8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52" creationId="{14091715-5F67-43B9-889D-603F51113A3C}"/>
          </ac:spMkLst>
        </pc:spChg>
        <pc:spChg chg="add mod">
          <ac:chgData name="Cristina Rodriguez Villalba" userId="8b341366-6b8b-4796-a330-2b1119a3c4d5" providerId="ADAL" clId="{825967F1-B160-4524-8F8D-105276C1988B}" dt="2022-05-20T10:30:46.614" v="2094" actId="1076"/>
          <ac:spMkLst>
            <pc:docMk/>
            <pc:sldMk cId="3142303209" sldId="2147375841"/>
            <ac:spMk id="153" creationId="{755E90DA-8B22-4B71-A2BD-50D13669D7C2}"/>
          </ac:spMkLst>
        </pc:spChg>
        <pc:spChg chg="add mod">
          <ac:chgData name="Cristina Rodriguez Villalba" userId="8b341366-6b8b-4796-a330-2b1119a3c4d5" providerId="ADAL" clId="{825967F1-B160-4524-8F8D-105276C1988B}" dt="2022-05-20T10:37:04.314" v="2267"/>
          <ac:spMkLst>
            <pc:docMk/>
            <pc:sldMk cId="3142303209" sldId="2147375841"/>
            <ac:spMk id="154" creationId="{6346DD20-6CBD-47B1-BF8D-1D2B11544090}"/>
          </ac:spMkLst>
        </pc:spChg>
        <pc:spChg chg="del mod">
          <ac:chgData name="Cristina Rodriguez Villalba" userId="8b341366-6b8b-4796-a330-2b1119a3c4d5" providerId="ADAL" clId="{825967F1-B160-4524-8F8D-105276C1988B}" dt="2022-05-20T10:30:01.309" v="2068" actId="478"/>
          <ac:spMkLst>
            <pc:docMk/>
            <pc:sldMk cId="3142303209" sldId="2147375841"/>
            <ac:spMk id="155" creationId="{29205193-1F15-4F76-9158-5FC1E6A3FC58}"/>
          </ac:spMkLst>
        </pc:spChg>
        <pc:spChg chg="del mod">
          <ac:chgData name="Cristina Rodriguez Villalba" userId="8b341366-6b8b-4796-a330-2b1119a3c4d5" providerId="ADAL" clId="{825967F1-B160-4524-8F8D-105276C1988B}" dt="2022-05-20T10:29:59.697" v="2067" actId="478"/>
          <ac:spMkLst>
            <pc:docMk/>
            <pc:sldMk cId="3142303209" sldId="2147375841"/>
            <ac:spMk id="156" creationId="{5A8A6576-8BBF-4826-8B29-B85A98873A1F}"/>
          </ac:spMkLst>
        </pc:spChg>
        <pc:spChg chg="add mod">
          <ac:chgData name="Cristina Rodriguez Villalba" userId="8b341366-6b8b-4796-a330-2b1119a3c4d5" providerId="ADAL" clId="{825967F1-B160-4524-8F8D-105276C1988B}" dt="2022-05-20T10:37:47.314" v="2288"/>
          <ac:spMkLst>
            <pc:docMk/>
            <pc:sldMk cId="3142303209" sldId="2147375841"/>
            <ac:spMk id="157" creationId="{69BEAA47-17A3-48B2-8C64-6DBD11DAA782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158" creationId="{B13FA36B-6041-4DCA-BA3F-7DA7FC5A0CC5}"/>
          </ac:spMkLst>
        </pc:spChg>
        <pc:spChg chg="mod">
          <ac:chgData name="Cristina Rodriguez Villalba" userId="8b341366-6b8b-4796-a330-2b1119a3c4d5" providerId="ADAL" clId="{825967F1-B160-4524-8F8D-105276C1988B}" dt="2022-05-20T10:29:21.850" v="1991"/>
          <ac:spMkLst>
            <pc:docMk/>
            <pc:sldMk cId="3142303209" sldId="2147375841"/>
            <ac:spMk id="159" creationId="{0884DAE8-E4EB-43E8-9692-9529EDBD2AF5}"/>
          </ac:spMkLst>
        </pc:spChg>
        <pc:spChg chg="del mod">
          <ac:chgData name="Cristina Rodriguez Villalba" userId="8b341366-6b8b-4796-a330-2b1119a3c4d5" providerId="ADAL" clId="{825967F1-B160-4524-8F8D-105276C1988B}" dt="2022-05-20T10:36:41.022" v="2255" actId="478"/>
          <ac:spMkLst>
            <pc:docMk/>
            <pc:sldMk cId="3142303209" sldId="2147375841"/>
            <ac:spMk id="160" creationId="{D7422EA4-98B4-4FC9-9378-82E3BBFA509F}"/>
          </ac:spMkLst>
        </pc:spChg>
        <pc:spChg chg="del mod">
          <ac:chgData name="Cristina Rodriguez Villalba" userId="8b341366-6b8b-4796-a330-2b1119a3c4d5" providerId="ADAL" clId="{825967F1-B160-4524-8F8D-105276C1988B}" dt="2022-05-20T10:36:32.201" v="2254" actId="478"/>
          <ac:spMkLst>
            <pc:docMk/>
            <pc:sldMk cId="3142303209" sldId="2147375841"/>
            <ac:spMk id="161" creationId="{1CE3836C-29BC-4325-91DB-B27390522EA7}"/>
          </ac:spMkLst>
        </pc:spChg>
        <pc:grpChg chg="mod">
          <ac:chgData name="Cristina Rodriguez Villalba" userId="8b341366-6b8b-4796-a330-2b1119a3c4d5" providerId="ADAL" clId="{825967F1-B160-4524-8F8D-105276C1988B}" dt="2022-05-20T10:29:21.850" v="1991"/>
          <ac:grpSpMkLst>
            <pc:docMk/>
            <pc:sldMk cId="3142303209" sldId="2147375841"/>
            <ac:grpSpMk id="1" creationId="{00000000-0000-0000-0000-000000000000}"/>
          </ac:grpSpMkLst>
        </pc:grpChg>
        <pc:grpChg chg="del mod">
          <ac:chgData name="Cristina Rodriguez Villalba" userId="8b341366-6b8b-4796-a330-2b1119a3c4d5" providerId="ADAL" clId="{825967F1-B160-4524-8F8D-105276C1988B}" dt="2022-05-20T10:34:42.651" v="2188" actId="478"/>
          <ac:grpSpMkLst>
            <pc:docMk/>
            <pc:sldMk cId="3142303209" sldId="2147375841"/>
            <ac:grpSpMk id="19" creationId="{869076A9-879A-4963-B6B2-99681A0B2F95}"/>
          </ac:grpSpMkLst>
        </pc:grpChg>
        <pc:graphicFrameChg chg="mod">
          <ac:chgData name="Cristina Rodriguez Villalba" userId="8b341366-6b8b-4796-a330-2b1119a3c4d5" providerId="ADAL" clId="{825967F1-B160-4524-8F8D-105276C1988B}" dt="2022-05-20T10:29:34.760" v="2044"/>
          <ac:graphicFrameMkLst>
            <pc:docMk/>
            <pc:sldMk cId="3142303209" sldId="2147375841"/>
            <ac:graphicFrameMk id="2" creationId="{4D69BBED-150A-47F5-8F0D-16FD9FC1AF44}"/>
          </ac:graphicFrameMkLst>
        </pc:graphicFrameChg>
        <pc:picChg chg="del mod topLvl">
          <ac:chgData name="Cristina Rodriguez Villalba" userId="8b341366-6b8b-4796-a330-2b1119a3c4d5" providerId="ADAL" clId="{825967F1-B160-4524-8F8D-105276C1988B}" dt="2022-05-20T10:34:43.739" v="2189" actId="478"/>
          <ac:picMkLst>
            <pc:docMk/>
            <pc:sldMk cId="3142303209" sldId="2147375841"/>
            <ac:picMk id="32" creationId="{CFD589E9-4F14-45DA-8814-3E98FA3CB033}"/>
          </ac:picMkLst>
        </pc:picChg>
        <pc:picChg chg="del mod">
          <ac:chgData name="Cristina Rodriguez Villalba" userId="8b341366-6b8b-4796-a330-2b1119a3c4d5" providerId="ADAL" clId="{825967F1-B160-4524-8F8D-105276C1988B}" dt="2022-05-20T10:36:09.858" v="2250" actId="478"/>
          <ac:picMkLst>
            <pc:docMk/>
            <pc:sldMk cId="3142303209" sldId="2147375841"/>
            <ac:picMk id="103" creationId="{CFD589E9-4F14-45DA-8814-3E98FA3CB033}"/>
          </ac:picMkLst>
        </pc:picChg>
        <pc:cxnChg chg="mod">
          <ac:chgData name="Cristina Rodriguez Villalba" userId="8b341366-6b8b-4796-a330-2b1119a3c4d5" providerId="ADAL" clId="{825967F1-B160-4524-8F8D-105276C1988B}" dt="2022-05-20T10:29:21.850" v="1991"/>
          <ac:cxnSpMkLst>
            <pc:docMk/>
            <pc:sldMk cId="3142303209" sldId="2147375841"/>
            <ac:cxnSpMk id="8" creationId="{0B84C619-B07B-4154-BDBA-A25947B22915}"/>
          </ac:cxnSpMkLst>
        </pc:cxnChg>
      </pc:sldChg>
      <pc:sldChg chg="addSp delSp modSp add del mod">
        <pc:chgData name="Cristina Rodriguez Villalba" userId="8b341366-6b8b-4796-a330-2b1119a3c4d5" providerId="ADAL" clId="{825967F1-B160-4524-8F8D-105276C1988B}" dt="2022-05-20T10:29:19.268" v="1989" actId="47"/>
        <pc:sldMkLst>
          <pc:docMk/>
          <pc:sldMk cId="4043079509" sldId="2147375841"/>
        </pc:sldMkLst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4" creationId="{832F4BE0-266B-4A5B-8FF5-EED6129645AD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5" creationId="{E8EEA1D4-065C-40A5-95F5-687EE246F171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9" creationId="{E865492A-DD6C-4BB3-8C62-C721DC818FF3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13" creationId="{0496155A-B0BB-41C3-A599-20D62D756E9B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15" creationId="{608B5363-6065-4839-9FB3-628C219AFD94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16" creationId="{9D40C6C6-B427-4B90-9EE2-DF7B8A862C0E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17" creationId="{D0DA8ED4-4734-41D9-931C-91B2BFB21B7D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18" creationId="{4D8A1921-F36B-4864-852C-26EE5EB83CB0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20" creationId="{D7A1C174-31F0-4296-BE38-67E37799C1C4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21" creationId="{A2AF5432-80A5-44C1-B9A5-F1610F88345B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22" creationId="{9BE22AB9-D651-43BA-BB03-E2EF905BBE22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31" creationId="{A1B1FD96-A824-45F7-896A-2E29CDE025A4}"/>
          </ac:spMkLst>
        </pc:spChg>
        <pc:spChg chg="del mod">
          <ac:chgData name="Cristina Rodriguez Villalba" userId="8b341366-6b8b-4796-a330-2b1119a3c4d5" providerId="ADAL" clId="{825967F1-B160-4524-8F8D-105276C1988B}" dt="2022-05-20T10:28:47.210" v="1986" actId="478"/>
          <ac:spMkLst>
            <pc:docMk/>
            <pc:sldMk cId="4043079509" sldId="2147375841"/>
            <ac:spMk id="32" creationId="{3281EFCA-1A40-4D39-A406-176FEC9E9126}"/>
          </ac:spMkLst>
        </pc:spChg>
        <pc:spChg chg="del mod">
          <ac:chgData name="Cristina Rodriguez Villalba" userId="8b341366-6b8b-4796-a330-2b1119a3c4d5" providerId="ADAL" clId="{825967F1-B160-4524-8F8D-105276C1988B}" dt="2022-05-20T10:28:48.124" v="1987" actId="478"/>
          <ac:spMkLst>
            <pc:docMk/>
            <pc:sldMk cId="4043079509" sldId="2147375841"/>
            <ac:spMk id="33" creationId="{EC7DA474-8852-458C-A74A-4BD0D5DC5CF0}"/>
          </ac:spMkLst>
        </pc:spChg>
        <pc:spChg chg="add mod">
          <ac:chgData name="Cristina Rodriguez Villalba" userId="8b341366-6b8b-4796-a330-2b1119a3c4d5" providerId="ADAL" clId="{825967F1-B160-4524-8F8D-105276C1988B}" dt="2022-05-20T10:29:00.077" v="1988"/>
          <ac:spMkLst>
            <pc:docMk/>
            <pc:sldMk cId="4043079509" sldId="2147375841"/>
            <ac:spMk id="34" creationId="{3EA07D97-CFF4-4E9C-8B4B-219FC4116C7B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35" creationId="{9271694B-FF79-4206-A2D3-091198842C41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36" creationId="{CB495DB8-EBB2-42F3-A1FF-80185A9355A8}"/>
          </ac:spMkLst>
        </pc:spChg>
        <pc:spChg chg="add mod">
          <ac:chgData name="Cristina Rodriguez Villalba" userId="8b341366-6b8b-4796-a330-2b1119a3c4d5" providerId="ADAL" clId="{825967F1-B160-4524-8F8D-105276C1988B}" dt="2022-05-20T10:29:00.077" v="1988"/>
          <ac:spMkLst>
            <pc:docMk/>
            <pc:sldMk cId="4043079509" sldId="2147375841"/>
            <ac:spMk id="37" creationId="{4D499D97-25C9-4708-8AAB-E533BA736314}"/>
          </ac:spMkLst>
        </pc:spChg>
        <pc:spChg chg="add mod">
          <ac:chgData name="Cristina Rodriguez Villalba" userId="8b341366-6b8b-4796-a330-2b1119a3c4d5" providerId="ADAL" clId="{825967F1-B160-4524-8F8D-105276C1988B}" dt="2022-05-20T10:29:00.077" v="1988"/>
          <ac:spMkLst>
            <pc:docMk/>
            <pc:sldMk cId="4043079509" sldId="2147375841"/>
            <ac:spMk id="38" creationId="{1E38D70A-8D9C-4514-86D8-15538819F19F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39" creationId="{9D885B16-5EBA-4F47-9C3F-1DEB7BDAD3AE}"/>
          </ac:spMkLst>
        </pc:spChg>
        <pc:spChg chg="add mod">
          <ac:chgData name="Cristina Rodriguez Villalba" userId="8b341366-6b8b-4796-a330-2b1119a3c4d5" providerId="ADAL" clId="{825967F1-B160-4524-8F8D-105276C1988B}" dt="2022-05-20T10:29:00.077" v="1988"/>
          <ac:spMkLst>
            <pc:docMk/>
            <pc:sldMk cId="4043079509" sldId="2147375841"/>
            <ac:spMk id="40" creationId="{E29BD070-0C57-4455-BF9A-BA933B36F6E5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42" creationId="{5600C09D-775F-43B1-A3D7-80E16BF23FEA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45" creationId="{0B8E83F0-622F-4F27-A6D2-9AB1A11B75DC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46" creationId="{F28697EB-A1BC-4CAF-9DEF-6AF82AA91A90}"/>
          </ac:spMkLst>
        </pc:spChg>
        <pc:spChg chg="mod">
          <ac:chgData name="Cristina Rodriguez Villalba" userId="8b341366-6b8b-4796-a330-2b1119a3c4d5" providerId="ADAL" clId="{825967F1-B160-4524-8F8D-105276C1988B}" dt="2022-05-20T10:28:37.173" v="1984"/>
          <ac:spMkLst>
            <pc:docMk/>
            <pc:sldMk cId="4043079509" sldId="2147375841"/>
            <ac:spMk id="47" creationId="{E68D4519-BE9C-4AA5-A3CC-9D7DB6F9C13C}"/>
          </ac:spMkLst>
        </pc:spChg>
        <pc:grpChg chg="mod">
          <ac:chgData name="Cristina Rodriguez Villalba" userId="8b341366-6b8b-4796-a330-2b1119a3c4d5" providerId="ADAL" clId="{825967F1-B160-4524-8F8D-105276C1988B}" dt="2022-05-20T10:28:37.173" v="1984"/>
          <ac:grpSpMkLst>
            <pc:docMk/>
            <pc:sldMk cId="4043079509" sldId="2147375841"/>
            <ac:grpSpMk id="1" creationId="{00000000-0000-0000-0000-000000000000}"/>
          </ac:grpSpMkLst>
        </pc:grpChg>
        <pc:grpChg chg="del mod">
          <ac:chgData name="Cristina Rodriguez Villalba" userId="8b341366-6b8b-4796-a330-2b1119a3c4d5" providerId="ADAL" clId="{825967F1-B160-4524-8F8D-105276C1988B}" dt="2022-05-20T10:28:44.633" v="1985" actId="478"/>
          <ac:grpSpMkLst>
            <pc:docMk/>
            <pc:sldMk cId="4043079509" sldId="2147375841"/>
            <ac:grpSpMk id="7" creationId="{BFE20E42-32DE-4FE1-9DD9-7D4F2767AB41}"/>
          </ac:grpSpMkLst>
        </pc:grpChg>
        <pc:graphicFrameChg chg="mod">
          <ac:chgData name="Cristina Rodriguez Villalba" userId="8b341366-6b8b-4796-a330-2b1119a3c4d5" providerId="ADAL" clId="{825967F1-B160-4524-8F8D-105276C1988B}" dt="2022-05-20T10:28:37.173" v="1984"/>
          <ac:graphicFrameMkLst>
            <pc:docMk/>
            <pc:sldMk cId="4043079509" sldId="2147375841"/>
            <ac:graphicFrameMk id="2" creationId="{4D69BBED-150A-47F5-8F0D-16FD9FC1AF44}"/>
          </ac:graphicFrameMkLst>
        </pc:graphicFrameChg>
        <pc:graphicFrameChg chg="mod">
          <ac:chgData name="Cristina Rodriguez Villalba" userId="8b341366-6b8b-4796-a330-2b1119a3c4d5" providerId="ADAL" clId="{825967F1-B160-4524-8F8D-105276C1988B}" dt="2022-05-20T10:28:37.173" v="1984"/>
          <ac:graphicFrameMkLst>
            <pc:docMk/>
            <pc:sldMk cId="4043079509" sldId="2147375841"/>
            <ac:graphicFrameMk id="3" creationId="{491DCAF8-AAE0-46B7-BBDB-B2F4FACC049B}"/>
          </ac:graphicFrameMkLst>
        </pc:graphicFrameChg>
        <pc:graphicFrameChg chg="mod">
          <ac:chgData name="Cristina Rodriguez Villalba" userId="8b341366-6b8b-4796-a330-2b1119a3c4d5" providerId="ADAL" clId="{825967F1-B160-4524-8F8D-105276C1988B}" dt="2022-05-20T10:28:37.173" v="1984"/>
          <ac:graphicFrameMkLst>
            <pc:docMk/>
            <pc:sldMk cId="4043079509" sldId="2147375841"/>
            <ac:graphicFrameMk id="28" creationId="{EFA73FC5-4AB1-42D8-84B1-9357DF8A5514}"/>
          </ac:graphicFrameMkLst>
        </pc:graphicFrameChg>
        <pc:graphicFrameChg chg="mod">
          <ac:chgData name="Cristina Rodriguez Villalba" userId="8b341366-6b8b-4796-a330-2b1119a3c4d5" providerId="ADAL" clId="{825967F1-B160-4524-8F8D-105276C1988B}" dt="2022-05-20T10:28:37.173" v="1984"/>
          <ac:graphicFrameMkLst>
            <pc:docMk/>
            <pc:sldMk cId="4043079509" sldId="2147375841"/>
            <ac:graphicFrameMk id="29" creationId="{F568542E-AD5E-4460-AB74-6A3200141677}"/>
          </ac:graphicFrameMkLst>
        </pc:graphicFrameChg>
        <pc:graphicFrameChg chg="mod">
          <ac:chgData name="Cristina Rodriguez Villalba" userId="8b341366-6b8b-4796-a330-2b1119a3c4d5" providerId="ADAL" clId="{825967F1-B160-4524-8F8D-105276C1988B}" dt="2022-05-20T10:28:37.173" v="1984"/>
          <ac:graphicFrameMkLst>
            <pc:docMk/>
            <pc:sldMk cId="4043079509" sldId="2147375841"/>
            <ac:graphicFrameMk id="30" creationId="{05F54323-0F9C-44ED-94BA-E236CEF79B27}"/>
          </ac:graphicFrameMkLst>
        </pc:graphicFrameChg>
        <pc:cxnChg chg="mod">
          <ac:chgData name="Cristina Rodriguez Villalba" userId="8b341366-6b8b-4796-a330-2b1119a3c4d5" providerId="ADAL" clId="{825967F1-B160-4524-8F8D-105276C1988B}" dt="2022-05-20T10:28:37.173" v="1984"/>
          <ac:cxnSpMkLst>
            <pc:docMk/>
            <pc:sldMk cId="4043079509" sldId="2147375841"/>
            <ac:cxnSpMk id="8" creationId="{0B84C619-B07B-4154-BDBA-A25947B22915}"/>
          </ac:cxnSpMkLst>
        </pc:cxnChg>
      </pc:sldChg>
      <pc:sldChg chg="del">
        <pc:chgData name="Cristina Rodriguez Villalba" userId="8b341366-6b8b-4796-a330-2b1119a3c4d5" providerId="ADAL" clId="{825967F1-B160-4524-8F8D-105276C1988B}" dt="2022-05-20T10:45:58.973" v="2293" actId="47"/>
        <pc:sldMkLst>
          <pc:docMk/>
          <pc:sldMk cId="3138766580" sldId="2147375842"/>
        </pc:sldMkLst>
      </pc:sldChg>
      <pc:sldChg chg="addSp delSp modSp mod">
        <pc:chgData name="Cristina Rodriguez Villalba" userId="8b341366-6b8b-4796-a330-2b1119a3c4d5" providerId="ADAL" clId="{825967F1-B160-4524-8F8D-105276C1988B}" dt="2022-05-20T11:32:32.040" v="3356" actId="1036"/>
        <pc:sldMkLst>
          <pc:docMk/>
          <pc:sldMk cId="1425481955" sldId="2147375843"/>
        </pc:sldMkLst>
        <pc:spChg chg="add del mod modVis">
          <ac:chgData name="Cristina Rodriguez Villalba" userId="8b341366-6b8b-4796-a330-2b1119a3c4d5" providerId="ADAL" clId="{825967F1-B160-4524-8F8D-105276C1988B}" dt="2022-05-20T11:13:42.256" v="3152"/>
          <ac:spMkLst>
            <pc:docMk/>
            <pc:sldMk cId="1425481955" sldId="2147375843"/>
            <ac:spMk id="2" creationId="{7C791784-65B4-44DF-A92C-0F53576F4E16}"/>
          </ac:spMkLst>
        </pc:spChg>
        <pc:spChg chg="mod ord">
          <ac:chgData name="Cristina Rodriguez Villalba" userId="8b341366-6b8b-4796-a330-2b1119a3c4d5" providerId="ADAL" clId="{825967F1-B160-4524-8F8D-105276C1988B}" dt="2022-05-20T11:13:50.717" v="3197"/>
          <ac:spMkLst>
            <pc:docMk/>
            <pc:sldMk cId="1425481955" sldId="2147375843"/>
            <ac:spMk id="4" creationId="{444E28E4-126B-4513-8568-8C2A86FD0469}"/>
          </ac:spMkLst>
        </pc:spChg>
        <pc:spChg chg="add del mod modVis">
          <ac:chgData name="Cristina Rodriguez Villalba" userId="8b341366-6b8b-4796-a330-2b1119a3c4d5" providerId="ADAL" clId="{825967F1-B160-4524-8F8D-105276C1988B}" dt="2022-05-20T11:13:50.721" v="3218"/>
          <ac:spMkLst>
            <pc:docMk/>
            <pc:sldMk cId="1425481955" sldId="2147375843"/>
            <ac:spMk id="5" creationId="{EFA26287-16AD-412A-A440-B203FDFCBA2D}"/>
          </ac:spMkLst>
        </pc:spChg>
        <pc:spChg chg="mod ord">
          <ac:chgData name="Cristina Rodriguez Villalba" userId="8b341366-6b8b-4796-a330-2b1119a3c4d5" providerId="ADAL" clId="{825967F1-B160-4524-8F8D-105276C1988B}" dt="2022-05-20T11:13:50.717" v="3203"/>
          <ac:spMkLst>
            <pc:docMk/>
            <pc:sldMk cId="1425481955" sldId="2147375843"/>
            <ac:spMk id="8" creationId="{EF111281-EBC1-45F5-A61A-127302E518D7}"/>
          </ac:spMkLst>
        </pc:spChg>
        <pc:spChg chg="mod ord">
          <ac:chgData name="Cristina Rodriguez Villalba" userId="8b341366-6b8b-4796-a330-2b1119a3c4d5" providerId="ADAL" clId="{825967F1-B160-4524-8F8D-105276C1988B}" dt="2022-05-20T11:13:50.717" v="3199"/>
          <ac:spMkLst>
            <pc:docMk/>
            <pc:sldMk cId="1425481955" sldId="2147375843"/>
            <ac:spMk id="16" creationId="{7AF0D92A-F739-4416-B3C4-85E986E26B17}"/>
          </ac:spMkLst>
        </pc:spChg>
        <pc:spChg chg="mod ord">
          <ac:chgData name="Cristina Rodriguez Villalba" userId="8b341366-6b8b-4796-a330-2b1119a3c4d5" providerId="ADAL" clId="{825967F1-B160-4524-8F8D-105276C1988B}" dt="2022-05-20T11:13:50.717" v="3205"/>
          <ac:spMkLst>
            <pc:docMk/>
            <pc:sldMk cId="1425481955" sldId="2147375843"/>
            <ac:spMk id="39" creationId="{D022CD94-B6A3-40C7-940A-88A504441EE5}"/>
          </ac:spMkLst>
        </pc:spChg>
        <pc:spChg chg="mod ord">
          <ac:chgData name="Cristina Rodriguez Villalba" userId="8b341366-6b8b-4796-a330-2b1119a3c4d5" providerId="ADAL" clId="{825967F1-B160-4524-8F8D-105276C1988B}" dt="2022-05-20T11:13:50.717" v="3201"/>
          <ac:spMkLst>
            <pc:docMk/>
            <pc:sldMk cId="1425481955" sldId="2147375843"/>
            <ac:spMk id="45" creationId="{AE6D9F9D-EA78-45EB-A329-F1D9F1D0F425}"/>
          </ac:spMkLst>
        </pc:spChg>
        <pc:spChg chg="mod">
          <ac:chgData name="Cristina Rodriguez Villalba" userId="8b341366-6b8b-4796-a330-2b1119a3c4d5" providerId="ADAL" clId="{825967F1-B160-4524-8F8D-105276C1988B}" dt="2022-05-20T11:08:40.407" v="2787" actId="20577"/>
          <ac:spMkLst>
            <pc:docMk/>
            <pc:sldMk cId="1425481955" sldId="2147375843"/>
            <ac:spMk id="46" creationId="{389312CD-A726-4792-85B0-5BF2F6526FD5}"/>
          </ac:spMkLst>
        </pc:spChg>
        <pc:spChg chg="mod">
          <ac:chgData name="Cristina Rodriguez Villalba" userId="8b341366-6b8b-4796-a330-2b1119a3c4d5" providerId="ADAL" clId="{825967F1-B160-4524-8F8D-105276C1988B}" dt="2022-05-20T11:20:24.158" v="3349" actId="14100"/>
          <ac:spMkLst>
            <pc:docMk/>
            <pc:sldMk cId="1425481955" sldId="2147375843"/>
            <ac:spMk id="47" creationId="{FF9FBE67-958F-4435-B532-24C2FFC7DB1A}"/>
          </ac:spMkLst>
        </pc:spChg>
        <pc:spChg chg="mod">
          <ac:chgData name="Cristina Rodriguez Villalba" userId="8b341366-6b8b-4796-a330-2b1119a3c4d5" providerId="ADAL" clId="{825967F1-B160-4524-8F8D-105276C1988B}" dt="2022-05-20T11:19:59.118" v="3288" actId="1076"/>
          <ac:spMkLst>
            <pc:docMk/>
            <pc:sldMk cId="1425481955" sldId="2147375843"/>
            <ac:spMk id="52" creationId="{7EBDBDCF-7B86-43FB-8E93-FA13A8F9A9EC}"/>
          </ac:spMkLst>
        </pc:spChg>
        <pc:spChg chg="mod">
          <ac:chgData name="Cristina Rodriguez Villalba" userId="8b341366-6b8b-4796-a330-2b1119a3c4d5" providerId="ADAL" clId="{825967F1-B160-4524-8F8D-105276C1988B}" dt="2022-05-20T11:16:22.863" v="3233" actId="1076"/>
          <ac:spMkLst>
            <pc:docMk/>
            <pc:sldMk cId="1425481955" sldId="2147375843"/>
            <ac:spMk id="54" creationId="{8DC6ACF3-8B69-4E77-81E1-0A35AF5A9F43}"/>
          </ac:spMkLst>
        </pc:spChg>
        <pc:spChg chg="mod">
          <ac:chgData name="Cristina Rodriguez Villalba" userId="8b341366-6b8b-4796-a330-2b1119a3c4d5" providerId="ADAL" clId="{825967F1-B160-4524-8F8D-105276C1988B}" dt="2022-05-20T11:19:59.118" v="3288" actId="1076"/>
          <ac:spMkLst>
            <pc:docMk/>
            <pc:sldMk cId="1425481955" sldId="2147375843"/>
            <ac:spMk id="55" creationId="{0804FA1A-8A01-4C33-8F7E-B5887C6E318E}"/>
          </ac:spMkLst>
        </pc:spChg>
        <pc:spChg chg="mod">
          <ac:chgData name="Cristina Rodriguez Villalba" userId="8b341366-6b8b-4796-a330-2b1119a3c4d5" providerId="ADAL" clId="{825967F1-B160-4524-8F8D-105276C1988B}" dt="2022-05-20T11:21:50.575" v="3350" actId="1076"/>
          <ac:spMkLst>
            <pc:docMk/>
            <pc:sldMk cId="1425481955" sldId="2147375843"/>
            <ac:spMk id="56" creationId="{CD5149FC-CB71-4283-86FC-4557416F06BD}"/>
          </ac:spMkLst>
        </pc:spChg>
        <pc:spChg chg="mod">
          <ac:chgData name="Cristina Rodriguez Villalba" userId="8b341366-6b8b-4796-a330-2b1119a3c4d5" providerId="ADAL" clId="{825967F1-B160-4524-8F8D-105276C1988B}" dt="2022-05-20T11:32:32.040" v="3356" actId="1036"/>
          <ac:spMkLst>
            <pc:docMk/>
            <pc:sldMk cId="1425481955" sldId="2147375843"/>
            <ac:spMk id="58" creationId="{020DDB5B-B3C8-463D-BFD6-2C1A5856F023}"/>
          </ac:spMkLst>
        </pc:spChg>
        <pc:spChg chg="mod">
          <ac:chgData name="Cristina Rodriguez Villalba" userId="8b341366-6b8b-4796-a330-2b1119a3c4d5" providerId="ADAL" clId="{825967F1-B160-4524-8F8D-105276C1988B}" dt="2022-05-20T11:19:59.118" v="3288" actId="1076"/>
          <ac:spMkLst>
            <pc:docMk/>
            <pc:sldMk cId="1425481955" sldId="2147375843"/>
            <ac:spMk id="59" creationId="{2F006BFA-5CF1-4976-9E5C-9D154E998A58}"/>
          </ac:spMkLst>
        </pc:spChg>
        <pc:spChg chg="mod">
          <ac:chgData name="Cristina Rodriguez Villalba" userId="8b341366-6b8b-4796-a330-2b1119a3c4d5" providerId="ADAL" clId="{825967F1-B160-4524-8F8D-105276C1988B}" dt="2022-05-20T11:19:59.118" v="3288" actId="1076"/>
          <ac:spMkLst>
            <pc:docMk/>
            <pc:sldMk cId="1425481955" sldId="2147375843"/>
            <ac:spMk id="60" creationId="{EC436EA5-5DCF-4AC4-B284-30B8F8F972E5}"/>
          </ac:spMkLst>
        </pc:spChg>
        <pc:spChg chg="mod">
          <ac:chgData name="Cristina Rodriguez Villalba" userId="8b341366-6b8b-4796-a330-2b1119a3c4d5" providerId="ADAL" clId="{825967F1-B160-4524-8F8D-105276C1988B}" dt="2022-05-20T11:18:47.017" v="3272" actId="5793"/>
          <ac:spMkLst>
            <pc:docMk/>
            <pc:sldMk cId="1425481955" sldId="2147375843"/>
            <ac:spMk id="67" creationId="{35A9873B-3972-4077-A047-3036D9A3F019}"/>
          </ac:spMkLst>
        </pc:spChg>
        <pc:spChg chg="mod">
          <ac:chgData name="Cristina Rodriguez Villalba" userId="8b341366-6b8b-4796-a330-2b1119a3c4d5" providerId="ADAL" clId="{825967F1-B160-4524-8F8D-105276C1988B}" dt="2022-05-20T11:18:45.098" v="3270" actId="5793"/>
          <ac:spMkLst>
            <pc:docMk/>
            <pc:sldMk cId="1425481955" sldId="2147375843"/>
            <ac:spMk id="75" creationId="{C1865D26-770B-4EA2-8A44-1D67B0CF78C1}"/>
          </ac:spMkLst>
        </pc:spChg>
        <pc:spChg chg="mod ord">
          <ac:chgData name="Cristina Rodriguez Villalba" userId="8b341366-6b8b-4796-a330-2b1119a3c4d5" providerId="ADAL" clId="{825967F1-B160-4524-8F8D-105276C1988B}" dt="2022-05-20T11:13:50.718" v="3209"/>
          <ac:spMkLst>
            <pc:docMk/>
            <pc:sldMk cId="1425481955" sldId="2147375843"/>
            <ac:spMk id="76" creationId="{F29AB2D3-43DF-47A0-886F-BBC1362D16F6}"/>
          </ac:spMkLst>
        </pc:spChg>
        <pc:grpChg chg="mod">
          <ac:chgData name="Cristina Rodriguez Villalba" userId="8b341366-6b8b-4796-a330-2b1119a3c4d5" providerId="ADAL" clId="{825967F1-B160-4524-8F8D-105276C1988B}" dt="2022-05-20T11:19:59.118" v="3288" actId="1076"/>
          <ac:grpSpMkLst>
            <pc:docMk/>
            <pc:sldMk cId="1425481955" sldId="2147375843"/>
            <ac:grpSpMk id="28" creationId="{EBBE3F14-A47C-42B2-B552-8628A1A7E269}"/>
          </ac:grpSpMkLst>
        </pc:grpChg>
        <pc:grpChg chg="mod ord">
          <ac:chgData name="Cristina Rodriguez Villalba" userId="8b341366-6b8b-4796-a330-2b1119a3c4d5" providerId="ADAL" clId="{825967F1-B160-4524-8F8D-105276C1988B}" dt="2022-05-20T11:13:50.719" v="3211"/>
          <ac:grpSpMkLst>
            <pc:docMk/>
            <pc:sldMk cId="1425481955" sldId="2147375843"/>
            <ac:grpSpMk id="32" creationId="{2C2E55E7-A83C-4402-BDDE-6D27AA3C4865}"/>
          </ac:grpSpMkLst>
        </pc:grpChg>
        <pc:grpChg chg="mod ord">
          <ac:chgData name="Cristina Rodriguez Villalba" userId="8b341366-6b8b-4796-a330-2b1119a3c4d5" providerId="ADAL" clId="{825967F1-B160-4524-8F8D-105276C1988B}" dt="2022-05-20T11:13:50.721" v="3216"/>
          <ac:grpSpMkLst>
            <pc:docMk/>
            <pc:sldMk cId="1425481955" sldId="2147375843"/>
            <ac:grpSpMk id="34" creationId="{ACFF064D-DF24-40C8-B486-CE7C36E99965}"/>
          </ac:grpSpMkLst>
        </pc:grpChg>
        <pc:grpChg chg="mod ord">
          <ac:chgData name="Cristina Rodriguez Villalba" userId="8b341366-6b8b-4796-a330-2b1119a3c4d5" providerId="ADAL" clId="{825967F1-B160-4524-8F8D-105276C1988B}" dt="2022-05-20T11:13:50.719" v="3213"/>
          <ac:grpSpMkLst>
            <pc:docMk/>
            <pc:sldMk cId="1425481955" sldId="2147375843"/>
            <ac:grpSpMk id="35" creationId="{2EB2DCF2-B2B4-4D22-ACC7-045FD8C0B3B7}"/>
          </ac:grpSpMkLst>
        </pc:grpChg>
        <pc:grpChg chg="mod">
          <ac:chgData name="Cristina Rodriguez Villalba" userId="8b341366-6b8b-4796-a330-2b1119a3c4d5" providerId="ADAL" clId="{825967F1-B160-4524-8F8D-105276C1988B}" dt="2022-05-20T11:19:59.118" v="3288" actId="1076"/>
          <ac:grpSpMkLst>
            <pc:docMk/>
            <pc:sldMk cId="1425481955" sldId="2147375843"/>
            <ac:grpSpMk id="43" creationId="{82748450-3D9C-4A5A-8418-5495BEA99801}"/>
          </ac:grpSpMkLst>
        </pc:grpChg>
        <pc:grpChg chg="mod">
          <ac:chgData name="Cristina Rodriguez Villalba" userId="8b341366-6b8b-4796-a330-2b1119a3c4d5" providerId="ADAL" clId="{825967F1-B160-4524-8F8D-105276C1988B}" dt="2022-05-20T11:19:59.118" v="3288" actId="1076"/>
          <ac:grpSpMkLst>
            <pc:docMk/>
            <pc:sldMk cId="1425481955" sldId="2147375843"/>
            <ac:grpSpMk id="50" creationId="{F5BAB86E-24ED-4A8D-A059-6E440EE59DC0}"/>
          </ac:grpSpMkLst>
        </pc:grpChg>
        <pc:graphicFrameChg chg="mod">
          <ac:chgData name="Cristina Rodriguez Villalba" userId="8b341366-6b8b-4796-a330-2b1119a3c4d5" providerId="ADAL" clId="{825967F1-B160-4524-8F8D-105276C1988B}" dt="2022-05-20T11:13:50.724" v="3220"/>
          <ac:graphicFrameMkLst>
            <pc:docMk/>
            <pc:sldMk cId="1425481955" sldId="2147375843"/>
            <ac:graphicFrameMk id="3" creationId="{B706D322-D65F-4AA1-86D8-5989EFDC71B9}"/>
          </ac:graphicFrameMkLst>
        </pc:graphicFrameChg>
        <pc:picChg chg="mod">
          <ac:chgData name="Cristina Rodriguez Villalba" userId="8b341366-6b8b-4796-a330-2b1119a3c4d5" providerId="ADAL" clId="{825967F1-B160-4524-8F8D-105276C1988B}" dt="2022-05-20T11:19:59.118" v="3288" actId="1076"/>
          <ac:picMkLst>
            <pc:docMk/>
            <pc:sldMk cId="1425481955" sldId="2147375843"/>
            <ac:picMk id="51" creationId="{00B31476-295E-475A-89E9-1C0166EC88A6}"/>
          </ac:picMkLst>
        </pc:picChg>
        <pc:picChg chg="mod">
          <ac:chgData name="Cristina Rodriguez Villalba" userId="8b341366-6b8b-4796-a330-2b1119a3c4d5" providerId="ADAL" clId="{825967F1-B160-4524-8F8D-105276C1988B}" dt="2022-05-20T11:13:45.549" v="3157" actId="1076"/>
          <ac:picMkLst>
            <pc:docMk/>
            <pc:sldMk cId="1425481955" sldId="2147375843"/>
            <ac:picMk id="57" creationId="{B3149FF4-90B6-49FF-ADAB-04FDE871A863}"/>
          </ac:picMkLst>
        </pc:picChg>
        <pc:cxnChg chg="mod ord">
          <ac:chgData name="Cristina Rodriguez Villalba" userId="8b341366-6b8b-4796-a330-2b1119a3c4d5" providerId="ADAL" clId="{825967F1-B160-4524-8F8D-105276C1988B}" dt="2022-05-20T11:13:50.718" v="3207"/>
          <ac:cxnSpMkLst>
            <pc:docMk/>
            <pc:sldMk cId="1425481955" sldId="2147375843"/>
            <ac:cxnSpMk id="48" creationId="{CA4A3689-DBE2-40CF-B5F3-2F5A7EF17177}"/>
          </ac:cxnSpMkLst>
        </pc:cxnChg>
        <pc:cxnChg chg="mod">
          <ac:chgData name="Cristina Rodriguez Villalba" userId="8b341366-6b8b-4796-a330-2b1119a3c4d5" providerId="ADAL" clId="{825967F1-B160-4524-8F8D-105276C1988B}" dt="2022-05-20T11:19:59.118" v="3288" actId="1076"/>
          <ac:cxnSpMkLst>
            <pc:docMk/>
            <pc:sldMk cId="1425481955" sldId="2147375843"/>
            <ac:cxnSpMk id="61" creationId="{296961FE-93D1-45A3-BF78-AC87BB7816FC}"/>
          </ac:cxnSpMkLst>
        </pc:cxnChg>
        <pc:cxnChg chg="mod">
          <ac:chgData name="Cristina Rodriguez Villalba" userId="8b341366-6b8b-4796-a330-2b1119a3c4d5" providerId="ADAL" clId="{825967F1-B160-4524-8F8D-105276C1988B}" dt="2022-05-20T11:19:59.118" v="3288" actId="1076"/>
          <ac:cxnSpMkLst>
            <pc:docMk/>
            <pc:sldMk cId="1425481955" sldId="2147375843"/>
            <ac:cxnSpMk id="62" creationId="{2769D2C9-DC31-4E44-AE68-9007E8E8C989}"/>
          </ac:cxnSpMkLst>
        </pc:cxnChg>
        <pc:cxnChg chg="mod">
          <ac:chgData name="Cristina Rodriguez Villalba" userId="8b341366-6b8b-4796-a330-2b1119a3c4d5" providerId="ADAL" clId="{825967F1-B160-4524-8F8D-105276C1988B}" dt="2022-05-20T11:20:18.268" v="3348" actId="1037"/>
          <ac:cxnSpMkLst>
            <pc:docMk/>
            <pc:sldMk cId="1425481955" sldId="2147375843"/>
            <ac:cxnSpMk id="63" creationId="{2BD8C5FE-5618-4F67-A3FE-97B7EA5DF2BF}"/>
          </ac:cxnSpMkLst>
        </pc:cxnChg>
        <pc:cxnChg chg="mod">
          <ac:chgData name="Cristina Rodriguez Villalba" userId="8b341366-6b8b-4796-a330-2b1119a3c4d5" providerId="ADAL" clId="{825967F1-B160-4524-8F8D-105276C1988B}" dt="2022-05-20T11:19:59.118" v="3288" actId="1076"/>
          <ac:cxnSpMkLst>
            <pc:docMk/>
            <pc:sldMk cId="1425481955" sldId="2147375843"/>
            <ac:cxnSpMk id="64" creationId="{A985DB31-74F6-4FB7-823C-8292032F0148}"/>
          </ac:cxnSpMkLst>
        </pc:cxnChg>
      </pc:sldChg>
      <pc:sldMasterChg chg="del delSldLayout">
        <pc:chgData name="Cristina Rodriguez Villalba" userId="8b341366-6b8b-4796-a330-2b1119a3c4d5" providerId="ADAL" clId="{825967F1-B160-4524-8F8D-105276C1988B}" dt="2022-05-20T10:45:56.800" v="2292" actId="47"/>
        <pc:sldMasterMkLst>
          <pc:docMk/>
          <pc:sldMasterMk cId="1575838496" sldId="2147483660"/>
        </pc:sldMasterMkLst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894843146" sldId="2147483661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893403718" sldId="2147483662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3130332431" sldId="2147483663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232228777" sldId="2147483664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646415476" sldId="2147483665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752352704" sldId="2147483666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078375599" sldId="2147483667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014095105" sldId="2147483668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203469704" sldId="2147483669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12392146" sldId="2147483670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699508292" sldId="2147483671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1445375286" sldId="2147483672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2852464407" sldId="2147483673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3027046096" sldId="2147483674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5755826" sldId="2147483675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45:56.800" v="2292" actId="47"/>
          <pc:sldLayoutMkLst>
            <pc:docMk/>
            <pc:sldMasterMk cId="1575838496" sldId="2147483660"/>
            <pc:sldLayoutMk cId="344175586" sldId="2147483676"/>
          </pc:sldLayoutMkLst>
        </pc:sldLayoutChg>
      </pc:sldMasterChg>
      <pc:sldMasterChg chg="del delSldLayout">
        <pc:chgData name="Cristina Rodriguez Villalba" userId="8b341366-6b8b-4796-a330-2b1119a3c4d5" providerId="ADAL" clId="{825967F1-B160-4524-8F8D-105276C1988B}" dt="2022-05-20T10:38:00.503" v="2290" actId="47"/>
        <pc:sldMasterMkLst>
          <pc:docMk/>
          <pc:sldMasterMk cId="1160716330" sldId="2147483677"/>
        </pc:sldMasterMkLst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647518817" sldId="2147483678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3027984868" sldId="2147483679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983178263" sldId="2147483680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572048097" sldId="2147483681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736568682" sldId="2147483682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3774795841" sldId="2147483683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753748691" sldId="2147483684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389949649" sldId="2147483685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1350549026" sldId="2147483686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282830763" sldId="2147483687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986506569" sldId="2147483688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931341879" sldId="2147483689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1678925892" sldId="2147483690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371752552" sldId="2147483691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2149159413" sldId="2147483692"/>
          </pc:sldLayoutMkLst>
        </pc:sldLayoutChg>
        <pc:sldLayoutChg chg="del">
          <pc:chgData name="Cristina Rodriguez Villalba" userId="8b341366-6b8b-4796-a330-2b1119a3c4d5" providerId="ADAL" clId="{825967F1-B160-4524-8F8D-105276C1988B}" dt="2022-05-20T10:38:00.503" v="2290" actId="47"/>
          <pc:sldLayoutMkLst>
            <pc:docMk/>
            <pc:sldMasterMk cId="1160716330" sldId="2147483677"/>
            <pc:sldLayoutMk cId="427002602" sldId="214748369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9FF8FB-5033-4274-BDDD-AF9D6E64023F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736B2-D34A-4B2D-A7CF-5499BF1A43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456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8D618-BBD3-4FF5-9218-0E9FEB4B2F82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135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8D618-BBD3-4FF5-9218-0E9FEB4B2F82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11BE1082-C267-4A0A-92EF-44C1CD9EA2A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action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TM)</a:t>
            </a:r>
          </a:p>
        </p:txBody>
      </p:sp>
    </p:spTree>
    <p:extLst>
      <p:ext uri="{BB962C8B-B14F-4D97-AF65-F5344CB8AC3E}">
        <p14:creationId xmlns:p14="http://schemas.microsoft.com/office/powerpoint/2010/main" val="3282038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8D618-BBD3-4FF5-9218-0E9FEB4B2F82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11BE1082-C267-4A0A-92EF-44C1CD9EA2A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action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TM)</a:t>
            </a:r>
          </a:p>
        </p:txBody>
      </p:sp>
    </p:spTree>
    <p:extLst>
      <p:ext uri="{BB962C8B-B14F-4D97-AF65-F5344CB8AC3E}">
        <p14:creationId xmlns:p14="http://schemas.microsoft.com/office/powerpoint/2010/main" val="3728612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B880E6-AADB-409F-AF5D-56ED07551E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446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B880E6-AADB-409F-AF5D-56ED07551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2F305A9-DE4B-49AF-BCD4-43A65F7EB5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1745" y="1096485"/>
            <a:ext cx="4937184" cy="1407004"/>
          </a:xfrm>
        </p:spPr>
        <p:txBody>
          <a:bodyPr vert="horz" anchor="t">
            <a:noAutofit/>
          </a:bodyPr>
          <a:lstStyle>
            <a:lvl1pPr algn="l" rtl="0">
              <a:lnSpc>
                <a:spcPct val="90000"/>
              </a:lnSpc>
              <a:defRPr lang="es-ES" sz="45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Título </a:t>
            </a:r>
            <a:br>
              <a:rPr lang="es-ES"/>
            </a:br>
            <a:r>
              <a:rPr lang="es-ES"/>
              <a:t>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es-ES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Esto clic para modificar el estilo de subtítulo del patrón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 rtl="0">
              <a:buNone/>
              <a:defRPr lang="es-ES" sz="13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">
              <a:solidFill>
                <a:srgbClr val="FFFFFF"/>
              </a:solidFill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D0C0698-AED8-4EE2-8E87-91C0FB974E8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562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0D2F58-5EDE-4518-A6F4-E5E071150D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07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0D2F58-5EDE-4518-A6F4-E5E071150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3" y="337100"/>
            <a:ext cx="10758663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024" y="1087459"/>
            <a:ext cx="3911401" cy="65754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4063" y="1087459"/>
            <a:ext cx="6445624" cy="657546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024" y="1838324"/>
            <a:ext cx="3911600" cy="4183063"/>
          </a:xfrm>
        </p:spPr>
        <p:txBody>
          <a:bodyPr>
            <a:normAutofit/>
          </a:bodyPr>
          <a:lstStyle>
            <a:lvl1pPr marL="0" indent="0" algn="ctr" rtl="0">
              <a:buFontTx/>
              <a:buNone/>
              <a:defRPr lang="es-ES" sz="14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2" y="1838324"/>
            <a:ext cx="6445625" cy="4181475"/>
          </a:xfrm>
        </p:spPr>
        <p:txBody>
          <a:bodyPr>
            <a:normAutofit/>
          </a:bodyPr>
          <a:lstStyle>
            <a:lvl1pPr marL="0" indent="0" algn="ctr" rtl="0">
              <a:buFontTx/>
              <a:buNone/>
              <a:defRPr lang="es-ES" sz="14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E8454A0C-553D-4F88-AC19-948A030E54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8656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erre y cont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2C2E66-590A-42BC-BF07-CFAB67707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117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42C2E66-590A-42BC-BF07-CFAB67707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>
              <a:solidFill>
                <a:srgbClr val="FFFFFF"/>
              </a:solidFill>
            </a:endParaRPr>
          </a:p>
        </p:txBody>
      </p:sp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44" t="3352" r="22378" b="28229"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757"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163354C-97AE-4FC8-BF01-B7FCA9B2C7C0}"/>
              </a:ext>
            </a:extLst>
          </p:cNvPr>
          <p:cNvSpPr txBox="1"/>
          <p:nvPr userDrawn="1"/>
        </p:nvSpPr>
        <p:spPr>
          <a:xfrm>
            <a:off x="719288" y="1945649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s-ES" sz="1400">
                <a:solidFill>
                  <a:srgbClr val="595959"/>
                </a:solidFill>
              </a:rPr>
              <a:t>Nuestra misión es contribuir al progreso de las personas y de las empresas.</a:t>
            </a:r>
          </a:p>
          <a:p>
            <a:pPr rtl="0"/>
            <a:endParaRPr lang="es-ES" sz="1400">
              <a:solidFill>
                <a:srgbClr val="595959"/>
              </a:solidFill>
            </a:endParaRPr>
          </a:p>
          <a:p>
            <a:pPr rtl="0"/>
            <a:r>
              <a:rPr lang="es-ES" sz="1400">
                <a:solidFill>
                  <a:srgbClr val="595959"/>
                </a:solidFill>
              </a:rPr>
              <a:t>Nuestra cultura se basa en la creencia de que todo lo que hacemos debe ser: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B0E05CB1-1BF0-48C0-9240-26433BD086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9150" y="3461863"/>
            <a:ext cx="2790825" cy="202298"/>
          </a:xfrm>
          <a:prstGeom prst="rect">
            <a:avLst/>
          </a:prstGeom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68E35268-345F-47C7-ADB2-CE92421E8EED}"/>
              </a:ext>
            </a:extLst>
          </p:cNvPr>
          <p:cNvSpPr txBox="1"/>
          <p:nvPr userDrawn="1"/>
        </p:nvSpPr>
        <p:spPr>
          <a:xfrm>
            <a:off x="721506" y="628193"/>
            <a:ext cx="33654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s-ES" sz="4400">
                <a:solidFill>
                  <a:srgbClr val="EC0000"/>
                </a:solidFill>
                <a:latin typeface="Santander Headline" panose="020B0504020201020104" pitchFamily="34" charset="0"/>
              </a:rPr>
              <a:t>Thank you.</a:t>
            </a:r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">
              <a:solidFill>
                <a:srgbClr val="FFFFFF"/>
              </a:solidFill>
            </a:endParaRPr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9E46F4D-C8A9-422F-BD4D-29C8BEED301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703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ulo y contenid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234706-CD60-41DB-9F73-4F0909D5C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5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234706-CD60-41DB-9F73-4F0909D5C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482973"/>
            <a:ext cx="10747515" cy="51492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"/>
              <a:t>Aquí Haga clic para modificar el estilo de título del patrón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7213" y="6442806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270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73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>
              <a:solidFill>
                <a:srgbClr val="FFFFFF"/>
              </a:solidFill>
              <a:latin typeface="Santander Headline" panose="020B0504020201020104" pitchFamily="34" charset="0"/>
              <a:sym typeface="Santander Headline" panose="020B05040202010201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380865"/>
            <a:ext cx="10758733" cy="365125"/>
          </a:xfrm>
        </p:spPr>
        <p:txBody>
          <a:bodyPr vert="horz" lIns="36000" tIns="0" rIns="36000" bIns="0" anchor="t">
            <a:noAutofit/>
          </a:bodyPr>
          <a:lstStyle>
            <a:lvl1pPr rtl="0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s-ES"/>
              <a:t>Click to edit Master title style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67869"/>
            <a:ext cx="2743200" cy="365125"/>
          </a:xfrm>
        </p:spPr>
        <p:txBody>
          <a:bodyPr/>
          <a:lstStyle>
            <a:lvl1pPr rtl="0"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2642" y="6262326"/>
            <a:ext cx="1172108" cy="205543"/>
          </a:xfrm>
          <a:prstGeom prst="rect">
            <a:avLst/>
          </a:prstGeom>
        </p:spPr>
      </p:pic>
      <p:sp>
        <p:nvSpPr>
          <p:cNvPr id="7" name="Marcador de texto 14">
            <a:extLst>
              <a:ext uri="{FF2B5EF4-FFF2-40B4-BE49-F238E27FC236}">
                <a16:creationId xmlns:a16="http://schemas.microsoft.com/office/drawing/2014/main" id="{B8E67FA2-10D7-4BE6-92C6-67BF813A5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0045" y="36048"/>
            <a:ext cx="10758734" cy="241953"/>
          </a:xfrm>
        </p:spPr>
        <p:txBody>
          <a:bodyPr lIns="36000" tIns="36000" rIns="36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 Master text styles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EE802A0-4B8D-4F8B-B64E-17A8E5B3A70A}"/>
              </a:ext>
            </a:extLst>
          </p:cNvPr>
          <p:cNvSpPr/>
          <p:nvPr userDrawn="1"/>
        </p:nvSpPr>
        <p:spPr>
          <a:xfrm>
            <a:off x="524655" y="0"/>
            <a:ext cx="170669" cy="2968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957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595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438">
          <p15:clr>
            <a:srgbClr val="FBAE40"/>
          </p15:clr>
        </p15:guide>
        <p15:guide id="6" pos="7230">
          <p15:clr>
            <a:srgbClr val="FBAE40"/>
          </p15:clr>
        </p15:guide>
        <p15:guide id="7" orient="horz" pos="39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310C5-805D-45F2-BEC3-9E173E9965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BDAF5F-6F57-4DD3-BD1B-5CAD6DC09B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B00A4-7A7C-48C0-B275-49507792D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F7804-36F3-4B63-843B-A4BC4337C391}" type="datetimeFigureOut">
              <a:rPr lang="es-ES" smtClean="0"/>
              <a:t>20/05/2022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8A1F2-1FC0-48EA-9066-D12B909E5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1753DF-FDE0-45C9-9165-132834E4F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FD03B-D079-43C1-A93A-5732BAA4B423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50352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 y gráfic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262326"/>
            <a:ext cx="1172108" cy="205543"/>
          </a:xfrm>
          <a:prstGeom prst="rect">
            <a:avLst/>
          </a:prstGeom>
        </p:spPr>
      </p:pic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5" y="1191802"/>
            <a:ext cx="3911401" cy="498516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err="1"/>
              <a:t>Editar</a:t>
            </a:r>
            <a:r>
              <a:rPr lang="en-US" noProof="0"/>
              <a:t> </a:t>
            </a:r>
            <a:r>
              <a:rPr lang="en-US" noProof="0" err="1"/>
              <a:t>los</a:t>
            </a:r>
            <a:r>
              <a:rPr lang="en-US" noProof="0"/>
              <a:t>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707776"/>
            <a:ext cx="6612965" cy="450252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err="1"/>
              <a:t>Inserte</a:t>
            </a:r>
            <a:r>
              <a:rPr lang="en-US" noProof="0"/>
              <a:t> </a:t>
            </a:r>
            <a:r>
              <a:rPr lang="en-US" noProof="0" err="1"/>
              <a:t>aquí</a:t>
            </a:r>
            <a:r>
              <a:rPr lang="en-US" noProof="0"/>
              <a:t> </a:t>
            </a:r>
            <a:r>
              <a:rPr lang="en-US" noProof="0" err="1"/>
              <a:t>su</a:t>
            </a:r>
            <a:r>
              <a:rPr lang="en-US" noProof="0"/>
              <a:t> </a:t>
            </a:r>
            <a:r>
              <a:rPr lang="en-US" noProof="0" err="1"/>
              <a:t>tabla</a:t>
            </a:r>
            <a:endParaRPr lang="en-US" noProof="0"/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5" y="1191802"/>
            <a:ext cx="6587576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err="1"/>
              <a:t>Editar</a:t>
            </a:r>
            <a:r>
              <a:rPr lang="en-US" noProof="0"/>
              <a:t> </a:t>
            </a:r>
            <a:r>
              <a:rPr lang="en-US" noProof="0" err="1"/>
              <a:t>los</a:t>
            </a:r>
            <a:r>
              <a:rPr lang="en-US" noProof="0"/>
              <a:t>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5167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áfico 8">
            <a:extLst>
              <a:ext uri="{FF2B5EF4-FFF2-40B4-BE49-F238E27FC236}">
                <a16:creationId xmlns:a16="http://schemas.microsoft.com/office/drawing/2014/main" id="{AC1B0227-D6EB-4F05-832D-EB54916F795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0000" y="6371926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861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F305A9-DE4B-49AF-BCD4-43A65F7EB5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1745" y="1096485"/>
            <a:ext cx="4937184" cy="1407004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lang="es-ES" sz="45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Título </a:t>
            </a:r>
            <a:br>
              <a:rPr lang="es-ES"/>
            </a:br>
            <a:r>
              <a:rPr lang="es-ES"/>
              <a:t>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lang="es-ES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Esto clic para modificar el estilo de subtítulo del patrón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lang="es-ES" sz="13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D0C0698-AED8-4EE2-8E87-91C0FB974E8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53686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3950534-FF56-4FD6-A098-D625BC54F0FA}"/>
              </a:ext>
            </a:extLst>
          </p:cNvPr>
          <p:cNvSpPr txBox="1"/>
          <p:nvPr userDrawn="1"/>
        </p:nvSpPr>
        <p:spPr>
          <a:xfrm>
            <a:off x="722533" y="312269"/>
            <a:ext cx="1849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kern="1200" noProof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rPr>
              <a:t>Index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>
              <a:buClr>
                <a:schemeClr val="accent1"/>
              </a:buClr>
              <a:buSzPct val="45000"/>
              <a:buFont typeface="+mj-lt"/>
              <a:buAutoNum type="arabicPeriod"/>
              <a:defRPr lang="es-ES" sz="3800" b="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8F344F-4D40-4193-89B9-BE820555497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33191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519" y="626373"/>
            <a:ext cx="4386194" cy="2852737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lang="es-ES" sz="50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lang="es-ES" sz="16600" kern="1200" dirty="0">
                <a:solidFill>
                  <a:schemeClr val="bg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9531181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84D22F-720F-4656-93FC-7593B68B3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30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84D22F-720F-4656-93FC-7593B68B3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3950534-FF56-4FD6-A098-D625BC54F0FA}"/>
              </a:ext>
            </a:extLst>
          </p:cNvPr>
          <p:cNvSpPr txBox="1"/>
          <p:nvPr userDrawn="1"/>
        </p:nvSpPr>
        <p:spPr>
          <a:xfrm>
            <a:off x="722533" y="312269"/>
            <a:ext cx="1849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s-ES" sz="1600" err="1">
                <a:solidFill>
                  <a:srgbClr val="EC0000"/>
                </a:solidFill>
              </a:rPr>
              <a:t>Index</a:t>
            </a:r>
            <a:endParaRPr lang="es-ES" sz="1600">
              <a:solidFill>
                <a:srgbClr val="EC0000"/>
              </a:solidFill>
            </a:endParaRP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 rtl="0">
              <a:buClr>
                <a:schemeClr val="accent1"/>
              </a:buClr>
              <a:buSzPct val="45000"/>
              <a:buFont typeface="+mj-lt"/>
              <a:buAutoNum type="arabicPeriod"/>
              <a:defRPr lang="es-ES" sz="3800" b="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8F344F-4D40-4193-89B9-BE820555497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988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7"/>
            <a:ext cx="5297557" cy="1606047"/>
          </a:xfrm>
        </p:spPr>
        <p:txBody>
          <a:bodyPr anchor="t">
            <a:noAutofit/>
          </a:bodyPr>
          <a:lstStyle>
            <a:lvl1pPr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ítulo</a:t>
            </a:r>
            <a:r>
              <a:rPr lang="en-US"/>
              <a:t> del </a:t>
            </a:r>
            <a:r>
              <a:rPr lang="en-US" err="1"/>
              <a:t>patrón</a:t>
            </a:r>
            <a:endParaRPr lang="es-ES"/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24" y="2944750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err="1"/>
              <a:t>Editar</a:t>
            </a:r>
            <a:r>
              <a:rPr lang="en-US"/>
              <a:t> los </a:t>
            </a:r>
            <a:r>
              <a:rPr lang="en-US" err="1"/>
              <a:t>estilos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9971" y="1087458"/>
            <a:ext cx="5081004" cy="49406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err="1"/>
              <a:t>Editar</a:t>
            </a:r>
            <a:r>
              <a:rPr lang="en-US"/>
              <a:t> los </a:t>
            </a:r>
            <a:r>
              <a:rPr lang="en-US" err="1"/>
              <a:t>estilos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</p:txBody>
      </p:sp>
      <p:sp>
        <p:nvSpPr>
          <p:cNvPr id="14" name="Marcador de texto 14">
            <a:extLst>
              <a:ext uri="{FF2B5EF4-FFF2-40B4-BE49-F238E27FC236}">
                <a16:creationId xmlns:a16="http://schemas.microsoft.com/office/drawing/2014/main" id="{20D6169B-7727-478C-9F79-E3312A448F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8C223F00-ADFD-45B5-AB42-E3946CD7E5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91316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 y conteni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7"/>
            <a:ext cx="10758733" cy="1123937"/>
          </a:xfrm>
        </p:spPr>
        <p:txBody>
          <a:bodyPr anchor="t">
            <a:noAutofit/>
          </a:bodyPr>
          <a:lstStyle>
            <a:lvl1pPr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626797"/>
            <a:ext cx="10758733" cy="3393003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0CD5C40-9C2B-4740-BB85-4793D380FB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26255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 y conteni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7"/>
            <a:ext cx="10758733" cy="1123937"/>
          </a:xfrm>
        </p:spPr>
        <p:txBody>
          <a:bodyPr anchor="t">
            <a:noAutofit/>
          </a:bodyPr>
          <a:lstStyle>
            <a:lvl1pPr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2626797"/>
            <a:ext cx="10758733" cy="3393003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0CD5C40-9C2B-4740-BB85-4793D380FB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23468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1087458"/>
            <a:ext cx="3801119" cy="4933929"/>
          </a:xfrm>
        </p:spPr>
        <p:txBody>
          <a:bodyPr anchor="t">
            <a:noAutofit/>
          </a:bodyPr>
          <a:lstStyle>
            <a:lvl1pPr>
              <a:defRPr lang="es-ES" sz="2600" b="0" kern="1200" dirty="0" err="1">
                <a:solidFill>
                  <a:schemeClr val="accent3"/>
                </a:solidFill>
                <a:latin typeface="Santander Text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2722" y="1087458"/>
            <a:ext cx="6697035" cy="4933928"/>
          </a:xfrm>
        </p:spPr>
        <p:txBody>
          <a:bodyPr numCol="1" spcCol="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ACA880E-0A64-47E3-A2A7-9510B186C1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3095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911401" cy="1183132"/>
          </a:xfrm>
        </p:spPr>
        <p:txBody>
          <a:bodyPr anchor="t">
            <a:noAutofit/>
          </a:bodyPr>
          <a:lstStyle>
            <a:lvl1pPr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Títul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2517170"/>
            <a:ext cx="3911401" cy="350421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83550" cy="4933950"/>
          </a:xfrm>
        </p:spPr>
        <p:txBody>
          <a:bodyPr>
            <a:normAutofit/>
          </a:bodyPr>
          <a:lstStyle>
            <a:lvl1pPr marL="0" indent="0" algn="ctr">
              <a:buNone/>
              <a:defRPr lang="es-MX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MX"/>
              <a:t>Inserte aqu</a:t>
            </a:r>
            <a:r>
              <a:rPr lang="es-ES"/>
              <a:t>í su gráfico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A720A69-A401-44C4-A44F-11858CED5D4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84827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3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493392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581149"/>
            <a:ext cx="6612965" cy="444023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kumimoji="0" lang="es-ES" sz="12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ntander Text Light" panose="020B03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tabla</a:t>
            </a:r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4" y="1087458"/>
            <a:ext cx="6587576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b="1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4FF6CD27-D37B-4983-AEF9-0169EB032F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7354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3" y="337100"/>
            <a:ext cx="10758663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4" y="1087459"/>
            <a:ext cx="3911401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4063" y="1087459"/>
            <a:ext cx="6445624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024" y="1838324"/>
            <a:ext cx="3911600" cy="41830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lang="es-ES" sz="14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2" y="1838324"/>
            <a:ext cx="6445625" cy="418147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lang="es-ES" sz="14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E8454A0C-553D-4F88-AC19-948A030E54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805937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erre y cont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44" t="3352" r="22378" b="28229"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757"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163354C-97AE-4FC8-BF01-B7FCA9B2C7C0}"/>
              </a:ext>
            </a:extLst>
          </p:cNvPr>
          <p:cNvSpPr txBox="1"/>
          <p:nvPr userDrawn="1"/>
        </p:nvSpPr>
        <p:spPr>
          <a:xfrm>
            <a:off x="719288" y="1945649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kern="120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rPr>
              <a:t>Nuestra misión es contribuir al progreso de las personas y de las empresas.</a:t>
            </a:r>
          </a:p>
          <a:p>
            <a:endParaRPr lang="es-ES" sz="1400" kern="1200">
              <a:solidFill>
                <a:schemeClr val="tx2"/>
              </a:solidFill>
              <a:latin typeface="Santander Text" panose="020B0504020201020104" pitchFamily="34" charset="0"/>
              <a:ea typeface="+mn-ea"/>
              <a:cs typeface="+mn-cs"/>
            </a:endParaRPr>
          </a:p>
          <a:p>
            <a:r>
              <a:rPr lang="es-ES" sz="1400" kern="120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rPr>
              <a:t>Nuestra cultura se basa en la creencia de que todo lo que hacemos debe ser: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B0E05CB1-1BF0-48C0-9240-26433BD086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9150" y="3461863"/>
            <a:ext cx="2790825" cy="202298"/>
          </a:xfrm>
          <a:prstGeom prst="rect">
            <a:avLst/>
          </a:prstGeom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68E35268-345F-47C7-ADB2-CE92421E8EED}"/>
              </a:ext>
            </a:extLst>
          </p:cNvPr>
          <p:cNvSpPr txBox="1"/>
          <p:nvPr userDrawn="1"/>
        </p:nvSpPr>
        <p:spPr>
          <a:xfrm>
            <a:off x="721506" y="628193"/>
            <a:ext cx="33654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4400" kern="1200" noProof="0">
                <a:solidFill>
                  <a:schemeClr val="accent1"/>
                </a:solidFill>
                <a:latin typeface="Santander Headline" panose="020B0504020201020104" pitchFamily="34" charset="0"/>
                <a:ea typeface="+mn-ea"/>
                <a:cs typeface="+mn-cs"/>
              </a:rPr>
              <a:t>Thank you.</a:t>
            </a:r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7" name="Freeform 5">
            <a:extLst>
              <a:ext uri="{FF2B5EF4-FFF2-40B4-BE49-F238E27FC236}">
                <a16:creationId xmlns:a16="http://schemas.microsoft.com/office/drawing/2014/main" id="{E9E46F4D-C8A9-422F-BD4D-29C8BEED301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2325" y="5727700"/>
            <a:ext cx="1898650" cy="334963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73536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ulo y contenid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482973"/>
            <a:ext cx="10747515" cy="51492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"/>
              <a:t>Aquí Haga clic para modificar el estilo de título del patrón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213" y="6442806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24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áfico 8">
            <a:extLst>
              <a:ext uri="{FF2B5EF4-FFF2-40B4-BE49-F238E27FC236}">
                <a16:creationId xmlns:a16="http://schemas.microsoft.com/office/drawing/2014/main" id="{AC1B0227-D6EB-4F05-832D-EB54916F795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0000" y="6371926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585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470901-A12B-426E-A1E9-301ECA2BE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54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470901-A12B-426E-A1E9-301ECA2BE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s-ES">
              <a:solidFill>
                <a:srgbClr val="FFFFFF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lang="es-ES" sz="50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 rtl="0">
              <a:buFontTx/>
              <a:buNone/>
              <a:defRPr lang="es-ES" sz="16600" kern="1200" dirty="0">
                <a:solidFill>
                  <a:schemeClr val="bg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64089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Gráfico 8">
            <a:extLst>
              <a:ext uri="{FF2B5EF4-FFF2-40B4-BE49-F238E27FC236}">
                <a16:creationId xmlns:a16="http://schemas.microsoft.com/office/drawing/2014/main" id="{AC1B0227-D6EB-4F05-832D-EB54916F795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0000" y="6371926"/>
            <a:ext cx="1172108" cy="205543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1AC49706-B65E-4F97-9A96-36BB51AAA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</a:t>
            </a:r>
            <a:endParaRPr lang="es-ES"/>
          </a:p>
        </p:txBody>
      </p:sp>
      <p:sp>
        <p:nvSpPr>
          <p:cNvPr id="9" name="Marcador de texto 13">
            <a:extLst>
              <a:ext uri="{FF2B5EF4-FFF2-40B4-BE49-F238E27FC236}">
                <a16:creationId xmlns:a16="http://schemas.microsoft.com/office/drawing/2014/main" id="{382B98E3-AC51-481E-ACDF-14E2E13C91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6600">
                <a:solidFill>
                  <a:schemeClr val="bg1"/>
                </a:solidFill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739629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</a:t>
            </a:r>
            <a:br>
              <a:rPr lang="en-US"/>
            </a:br>
            <a:r>
              <a:rPr lang="en-US"/>
              <a:t>style</a:t>
            </a:r>
            <a:endParaRPr lang="es-ES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6600">
                <a:solidFill>
                  <a:schemeClr val="accent1"/>
                </a:solidFill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7368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mpty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6E8791-D5A9-44D9-92E8-2568DFF000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4EEF281-8AEC-4801-AB43-92DB09C322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74835" y="0"/>
            <a:ext cx="481716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893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2022DA-F59E-4400-9506-92766431A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9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2022DA-F59E-4400-9506-92766431A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5297557" cy="1606047"/>
          </a:xfrm>
        </p:spPr>
        <p:txBody>
          <a:bodyPr vert="horz" anchor="t">
            <a:noAutofit/>
          </a:bodyPr>
          <a:lstStyle>
            <a:lvl1pPr rtl="0">
              <a:defRPr lang="en-U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24" y="2944750"/>
            <a:ext cx="5308776" cy="3083401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9971" y="1087458"/>
            <a:ext cx="5081004" cy="4940693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n-U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4" name="Marcador de texto 14">
            <a:extLst>
              <a:ext uri="{FF2B5EF4-FFF2-40B4-BE49-F238E27FC236}">
                <a16:creationId xmlns:a16="http://schemas.microsoft.com/office/drawing/2014/main" id="{20D6169B-7727-478C-9F79-E3312A448F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8C223F00-ADFD-45B5-AB42-E3946CD7E5B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294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 y conteni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17BAA1-E386-4AB2-B020-ABDC85EE68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704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17BAA1-E386-4AB2-B020-ABDC85EE6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10758733" cy="1123937"/>
          </a:xfrm>
        </p:spPr>
        <p:txBody>
          <a:bodyPr vert="horz" anchor="t">
            <a:noAutofit/>
          </a:bodyPr>
          <a:lstStyle>
            <a:lvl1pPr rtl="0"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24" y="2626797"/>
            <a:ext cx="10758733" cy="3393003"/>
          </a:xfrm>
        </p:spPr>
        <p:txBody>
          <a:bodyPr numCol="2" spcCol="720000"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0CD5C40-9C2B-4740-BB85-4793D380FB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9853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 y conteni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DC1FC0-6EF6-4446-B3FF-F2AF37C04E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787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DC1FC0-6EF6-4446-B3FF-F2AF37C04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7"/>
            <a:ext cx="10758733" cy="1123937"/>
          </a:xfrm>
        </p:spPr>
        <p:txBody>
          <a:bodyPr vert="horz" anchor="t">
            <a:noAutofit/>
          </a:bodyPr>
          <a:lstStyle>
            <a:lvl1pPr rtl="0"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24" y="2626797"/>
            <a:ext cx="10758733" cy="3393003"/>
          </a:xfrm>
        </p:spPr>
        <p:txBody>
          <a:bodyPr numCol="2" spcCol="720000"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0CD5C40-9C2B-4740-BB85-4793D380FB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16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74545A-D4CA-45F7-A5E5-7C08A1D4E4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610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74545A-D4CA-45F7-A5E5-7C08A1D4E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801119" cy="4933929"/>
          </a:xfrm>
        </p:spPr>
        <p:txBody>
          <a:bodyPr vert="horz" anchor="t">
            <a:noAutofit/>
          </a:bodyPr>
          <a:lstStyle>
            <a:lvl1pPr rtl="0">
              <a:defRPr lang="es-ES" sz="2600" b="0" kern="1200" dirty="0" err="1">
                <a:solidFill>
                  <a:schemeClr val="accent3"/>
                </a:solidFill>
                <a:latin typeface="Santander Text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72722" y="1087458"/>
            <a:ext cx="6697035" cy="4933928"/>
          </a:xfrm>
        </p:spPr>
        <p:txBody>
          <a:bodyPr numCol="1" spcCol="0"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ACA880E-0A64-47E3-A2A7-9510B186C1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734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A96076-8691-4B1A-B2FC-8DB1D3612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850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A96076-8691-4B1A-B2FC-8DB1D3612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024" y="1087458"/>
            <a:ext cx="3911401" cy="1183132"/>
          </a:xfrm>
        </p:spPr>
        <p:txBody>
          <a:bodyPr vert="horz" anchor="t">
            <a:noAutofit/>
          </a:bodyPr>
          <a:lstStyle>
            <a:lvl1pPr rtl="0">
              <a:defRPr lang="es-ES" sz="3800" kern="1200" dirty="0">
                <a:solidFill>
                  <a:schemeClr val="accent1"/>
                </a:solidFill>
                <a:latin typeface="Santander Headline" panose="020B05040202010201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Títul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024" y="2517170"/>
            <a:ext cx="3911401" cy="3504218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83550" cy="4933950"/>
          </a:xfrm>
        </p:spPr>
        <p:txBody>
          <a:bodyPr>
            <a:normAutofit/>
          </a:bodyPr>
          <a:lstStyle>
            <a:lvl1pPr marL="0" indent="0" algn="ctr" rtl="0">
              <a:buNone/>
              <a:defRPr lang="es-MX" sz="1600" kern="1200" dirty="0">
                <a:solidFill>
                  <a:schemeClr val="tx2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A720A69-A401-44C4-A44F-11858CED5D4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26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y gráfic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CE3BD9-5A63-48CC-B53F-F636A1E8C2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917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3CE3BD9-5A63-48CC-B53F-F636A1E8C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2E1D636-3017-4CF4-BA5F-3300C6684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>
            <a:lvl1pPr rtl="0">
              <a:defRPr lang="es-ES" sz="1300" kern="1200" smtClean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</a:lstStyle>
          <a:p>
            <a:fld id="{BC0D97B6-E32F-4D7D-B839-7C3B51F2640F}" type="slidenum">
              <a:rPr lang="es-ES" smtClean="0">
                <a:solidFill>
                  <a:srgbClr val="EC0000"/>
                </a:solidFill>
              </a:rPr>
              <a:pPr/>
              <a:t>‹#›</a:t>
            </a:fld>
            <a:endParaRPr lang="es-ES">
              <a:solidFill>
                <a:srgbClr val="EC0000"/>
              </a:solidFill>
            </a:endParaRP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023" y="337100"/>
            <a:ext cx="10758734" cy="304800"/>
          </a:xfrm>
        </p:spPr>
        <p:txBody>
          <a:bodyPr>
            <a:noAutofit/>
          </a:bodyPr>
          <a:lstStyle>
            <a:lvl1pPr marL="0" indent="0" rtl="0">
              <a:buFontTx/>
              <a:buNone/>
              <a:defRPr lang="es-ES" sz="1600" kern="1200" dirty="0">
                <a:solidFill>
                  <a:schemeClr val="accent1"/>
                </a:solidFill>
                <a:latin typeface="Santander Text" panose="020B05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024" y="1087459"/>
            <a:ext cx="3911401" cy="4933929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600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581149"/>
            <a:ext cx="6612965" cy="4440239"/>
          </a:xfrm>
        </p:spPr>
        <p:txBody>
          <a:bodyPr>
            <a:normAutofit/>
          </a:bodyPr>
          <a:lstStyle>
            <a:lvl1pPr marL="0" indent="0" algn="ctr" rtl="0">
              <a:buFontTx/>
              <a:buNone/>
              <a:defRPr kumimoji="0" lang="es-ES" sz="1200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antander Text Light" panose="020B0304020201020104" pitchFamily="34" charset="0"/>
                <a:ea typeface="+mn-ea"/>
                <a:cs typeface="+mn-cs"/>
              </a:defRPr>
            </a:lvl1pPr>
          </a:lstStyle>
          <a:p>
            <a:r>
              <a:rPr lang="es-ES"/>
              <a:t>Inserte aquí su tabla</a:t>
            </a:r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7834" y="1087458"/>
            <a:ext cx="6587576" cy="381504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b="1" kern="1200" dirty="0">
                <a:solidFill>
                  <a:schemeClr val="tx2"/>
                </a:solidFill>
                <a:latin typeface="Santander Text Light" panose="020B0304020201020104" pitchFamily="34" charset="0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4FF6CD27-D37B-4983-AEF9-0169EB032F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2642" y="6262326"/>
            <a:ext cx="1171705" cy="206714"/>
          </a:xfrm>
          <a:custGeom>
            <a:avLst/>
            <a:gdLst>
              <a:gd name="T0" fmla="*/ 319 w 3262"/>
              <a:gd name="T1" fmla="*/ 39 h 572"/>
              <a:gd name="T2" fmla="*/ 300 w 3262"/>
              <a:gd name="T3" fmla="*/ 137 h 572"/>
              <a:gd name="T4" fmla="*/ 371 w 3262"/>
              <a:gd name="T5" fmla="*/ 405 h 572"/>
              <a:gd name="T6" fmla="*/ 244 w 3262"/>
              <a:gd name="T7" fmla="*/ 170 h 572"/>
              <a:gd name="T8" fmla="*/ 225 w 3262"/>
              <a:gd name="T9" fmla="*/ 267 h 572"/>
              <a:gd name="T10" fmla="*/ 300 w 3262"/>
              <a:gd name="T11" fmla="*/ 528 h 572"/>
              <a:gd name="T12" fmla="*/ 187 w 3262"/>
              <a:gd name="T13" fmla="*/ 333 h 572"/>
              <a:gd name="T14" fmla="*/ 300 w 3262"/>
              <a:gd name="T15" fmla="*/ 572 h 572"/>
              <a:gd name="T16" fmla="*/ 714 w 3262"/>
              <a:gd name="T17" fmla="*/ 540 h 572"/>
              <a:gd name="T18" fmla="*/ 910 w 3262"/>
              <a:gd name="T19" fmla="*/ 455 h 572"/>
              <a:gd name="T20" fmla="*/ 717 w 3262"/>
              <a:gd name="T21" fmla="*/ 258 h 572"/>
              <a:gd name="T22" fmla="*/ 945 w 3262"/>
              <a:gd name="T23" fmla="*/ 226 h 572"/>
              <a:gd name="T24" fmla="*/ 842 w 3262"/>
              <a:gd name="T25" fmla="*/ 322 h 572"/>
              <a:gd name="T26" fmla="*/ 829 w 3262"/>
              <a:gd name="T27" fmla="*/ 561 h 572"/>
              <a:gd name="T28" fmla="*/ 1277 w 3262"/>
              <a:gd name="T29" fmla="*/ 552 h 572"/>
              <a:gd name="T30" fmla="*/ 1138 w 3262"/>
              <a:gd name="T31" fmla="*/ 559 h 572"/>
              <a:gd name="T32" fmla="*/ 1277 w 3262"/>
              <a:gd name="T33" fmla="*/ 270 h 572"/>
              <a:gd name="T34" fmla="*/ 1171 w 3262"/>
              <a:gd name="T35" fmla="*/ 307 h 572"/>
              <a:gd name="T36" fmla="*/ 1215 w 3262"/>
              <a:gd name="T37" fmla="*/ 488 h 572"/>
              <a:gd name="T38" fmla="*/ 1533 w 3262"/>
              <a:gd name="T39" fmla="*/ 552 h 572"/>
              <a:gd name="T40" fmla="*/ 1407 w 3262"/>
              <a:gd name="T41" fmla="*/ 312 h 572"/>
              <a:gd name="T42" fmla="*/ 1345 w 3262"/>
              <a:gd name="T43" fmla="*/ 270 h 572"/>
              <a:gd name="T44" fmla="*/ 1767 w 3262"/>
              <a:gd name="T45" fmla="*/ 506 h 572"/>
              <a:gd name="T46" fmla="*/ 1756 w 3262"/>
              <a:gd name="T47" fmla="*/ 559 h 572"/>
              <a:gd name="T48" fmla="*/ 1719 w 3262"/>
              <a:gd name="T49" fmla="*/ 157 h 572"/>
              <a:gd name="T50" fmla="*/ 1812 w 3262"/>
              <a:gd name="T51" fmla="*/ 317 h 572"/>
              <a:gd name="T52" fmla="*/ 1767 w 3262"/>
              <a:gd name="T53" fmla="*/ 506 h 572"/>
              <a:gd name="T54" fmla="*/ 2043 w 3262"/>
              <a:gd name="T55" fmla="*/ 552 h 572"/>
              <a:gd name="T56" fmla="*/ 1836 w 3262"/>
              <a:gd name="T57" fmla="*/ 410 h 572"/>
              <a:gd name="T58" fmla="*/ 2038 w 3262"/>
              <a:gd name="T59" fmla="*/ 488 h 572"/>
              <a:gd name="T60" fmla="*/ 1899 w 3262"/>
              <a:gd name="T61" fmla="*/ 410 h 572"/>
              <a:gd name="T62" fmla="*/ 2418 w 3262"/>
              <a:gd name="T63" fmla="*/ 363 h 572"/>
              <a:gd name="T64" fmla="*/ 2356 w 3262"/>
              <a:gd name="T65" fmla="*/ 373 h 572"/>
              <a:gd name="T66" fmla="*/ 2230 w 3262"/>
              <a:gd name="T67" fmla="*/ 552 h 572"/>
              <a:gd name="T68" fmla="*/ 2281 w 3262"/>
              <a:gd name="T69" fmla="*/ 254 h 572"/>
              <a:gd name="T70" fmla="*/ 2733 w 3262"/>
              <a:gd name="T71" fmla="*/ 552 h 572"/>
              <a:gd name="T72" fmla="*/ 2591 w 3262"/>
              <a:gd name="T73" fmla="*/ 559 h 572"/>
              <a:gd name="T74" fmla="*/ 2671 w 3262"/>
              <a:gd name="T75" fmla="*/ 259 h 572"/>
              <a:gd name="T76" fmla="*/ 2671 w 3262"/>
              <a:gd name="T77" fmla="*/ 487 h 572"/>
              <a:gd name="T78" fmla="*/ 2531 w 3262"/>
              <a:gd name="T79" fmla="*/ 410 h 572"/>
              <a:gd name="T80" fmla="*/ 3045 w 3262"/>
              <a:gd name="T81" fmla="*/ 432 h 572"/>
              <a:gd name="T82" fmla="*/ 3038 w 3262"/>
              <a:gd name="T83" fmla="*/ 485 h 572"/>
              <a:gd name="T84" fmla="*/ 2783 w 3262"/>
              <a:gd name="T85" fmla="*/ 405 h 572"/>
              <a:gd name="T86" fmla="*/ 3045 w 3262"/>
              <a:gd name="T87" fmla="*/ 432 h 572"/>
              <a:gd name="T88" fmla="*/ 2918 w 3262"/>
              <a:gd name="T89" fmla="*/ 306 h 572"/>
              <a:gd name="T90" fmla="*/ 3256 w 3262"/>
              <a:gd name="T91" fmla="*/ 310 h 572"/>
              <a:gd name="T92" fmla="*/ 3164 w 3262"/>
              <a:gd name="T93" fmla="*/ 552 h 572"/>
              <a:gd name="T94" fmla="*/ 3208 w 3262"/>
              <a:gd name="T95" fmla="*/ 25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62" h="572">
                <a:moveTo>
                  <a:pt x="430" y="262"/>
                </a:moveTo>
                <a:cubicBezTo>
                  <a:pt x="429" y="241"/>
                  <a:pt x="424" y="221"/>
                  <a:pt x="413" y="202"/>
                </a:cubicBezTo>
                <a:cubicBezTo>
                  <a:pt x="319" y="39"/>
                  <a:pt x="319" y="39"/>
                  <a:pt x="319" y="39"/>
                </a:cubicBezTo>
                <a:cubicBezTo>
                  <a:pt x="312" y="27"/>
                  <a:pt x="307" y="14"/>
                  <a:pt x="304" y="0"/>
                </a:cubicBezTo>
                <a:cubicBezTo>
                  <a:pt x="300" y="7"/>
                  <a:pt x="300" y="7"/>
                  <a:pt x="300" y="7"/>
                </a:cubicBezTo>
                <a:cubicBezTo>
                  <a:pt x="277" y="47"/>
                  <a:pt x="277" y="97"/>
                  <a:pt x="300" y="137"/>
                </a:cubicBezTo>
                <a:cubicBezTo>
                  <a:pt x="375" y="267"/>
                  <a:pt x="375" y="267"/>
                  <a:pt x="375" y="267"/>
                </a:cubicBezTo>
                <a:cubicBezTo>
                  <a:pt x="399" y="308"/>
                  <a:pt x="399" y="357"/>
                  <a:pt x="375" y="398"/>
                </a:cubicBezTo>
                <a:cubicBezTo>
                  <a:pt x="371" y="405"/>
                  <a:pt x="371" y="405"/>
                  <a:pt x="371" y="405"/>
                </a:cubicBezTo>
                <a:cubicBezTo>
                  <a:pt x="369" y="391"/>
                  <a:pt x="364" y="378"/>
                  <a:pt x="356" y="365"/>
                </a:cubicBezTo>
                <a:cubicBezTo>
                  <a:pt x="288" y="246"/>
                  <a:pt x="288" y="246"/>
                  <a:pt x="288" y="246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36" y="157"/>
                  <a:pt x="232" y="144"/>
                  <a:pt x="229" y="130"/>
                </a:cubicBezTo>
                <a:cubicBezTo>
                  <a:pt x="225" y="137"/>
                  <a:pt x="225" y="137"/>
                  <a:pt x="225" y="137"/>
                </a:cubicBezTo>
                <a:cubicBezTo>
                  <a:pt x="202" y="177"/>
                  <a:pt x="202" y="227"/>
                  <a:pt x="225" y="267"/>
                </a:cubicBezTo>
                <a:cubicBezTo>
                  <a:pt x="225" y="267"/>
                  <a:pt x="225" y="267"/>
                  <a:pt x="225" y="267"/>
                </a:cubicBezTo>
                <a:cubicBezTo>
                  <a:pt x="300" y="398"/>
                  <a:pt x="300" y="398"/>
                  <a:pt x="300" y="398"/>
                </a:cubicBezTo>
                <a:cubicBezTo>
                  <a:pt x="323" y="438"/>
                  <a:pt x="323" y="488"/>
                  <a:pt x="300" y="528"/>
                </a:cubicBezTo>
                <a:cubicBezTo>
                  <a:pt x="296" y="535"/>
                  <a:pt x="296" y="535"/>
                  <a:pt x="296" y="535"/>
                </a:cubicBezTo>
                <a:cubicBezTo>
                  <a:pt x="293" y="521"/>
                  <a:pt x="288" y="508"/>
                  <a:pt x="281" y="495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75" y="311"/>
                  <a:pt x="169" y="286"/>
                  <a:pt x="170" y="262"/>
                </a:cubicBezTo>
                <a:cubicBezTo>
                  <a:pt x="69" y="288"/>
                  <a:pt x="0" y="344"/>
                  <a:pt x="0" y="409"/>
                </a:cubicBezTo>
                <a:cubicBezTo>
                  <a:pt x="0" y="499"/>
                  <a:pt x="134" y="572"/>
                  <a:pt x="300" y="572"/>
                </a:cubicBezTo>
                <a:cubicBezTo>
                  <a:pt x="466" y="572"/>
                  <a:pt x="600" y="499"/>
                  <a:pt x="600" y="409"/>
                </a:cubicBezTo>
                <a:cubicBezTo>
                  <a:pt x="600" y="344"/>
                  <a:pt x="531" y="288"/>
                  <a:pt x="430" y="262"/>
                </a:cubicBezTo>
                <a:close/>
                <a:moveTo>
                  <a:pt x="714" y="540"/>
                </a:moveTo>
                <a:cubicBezTo>
                  <a:pt x="715" y="517"/>
                  <a:pt x="718" y="501"/>
                  <a:pt x="725" y="483"/>
                </a:cubicBezTo>
                <a:cubicBezTo>
                  <a:pt x="756" y="498"/>
                  <a:pt x="797" y="505"/>
                  <a:pt x="828" y="505"/>
                </a:cubicBezTo>
                <a:cubicBezTo>
                  <a:pt x="880" y="505"/>
                  <a:pt x="910" y="488"/>
                  <a:pt x="910" y="455"/>
                </a:cubicBezTo>
                <a:cubicBezTo>
                  <a:pt x="910" y="422"/>
                  <a:pt x="888" y="407"/>
                  <a:pt x="835" y="384"/>
                </a:cubicBezTo>
                <a:cubicBezTo>
                  <a:pt x="806" y="371"/>
                  <a:pt x="806" y="371"/>
                  <a:pt x="806" y="371"/>
                </a:cubicBezTo>
                <a:cubicBezTo>
                  <a:pt x="753" y="348"/>
                  <a:pt x="717" y="318"/>
                  <a:pt x="717" y="258"/>
                </a:cubicBezTo>
                <a:cubicBezTo>
                  <a:pt x="717" y="194"/>
                  <a:pt x="762" y="153"/>
                  <a:pt x="853" y="153"/>
                </a:cubicBezTo>
                <a:cubicBezTo>
                  <a:pt x="890" y="153"/>
                  <a:pt x="924" y="158"/>
                  <a:pt x="956" y="169"/>
                </a:cubicBezTo>
                <a:cubicBezTo>
                  <a:pt x="955" y="192"/>
                  <a:pt x="951" y="209"/>
                  <a:pt x="945" y="226"/>
                </a:cubicBezTo>
                <a:cubicBezTo>
                  <a:pt x="915" y="214"/>
                  <a:pt x="879" y="209"/>
                  <a:pt x="853" y="209"/>
                </a:cubicBezTo>
                <a:cubicBezTo>
                  <a:pt x="804" y="209"/>
                  <a:pt x="781" y="228"/>
                  <a:pt x="781" y="258"/>
                </a:cubicBezTo>
                <a:cubicBezTo>
                  <a:pt x="781" y="288"/>
                  <a:pt x="803" y="305"/>
                  <a:pt x="842" y="322"/>
                </a:cubicBezTo>
                <a:cubicBezTo>
                  <a:pt x="873" y="335"/>
                  <a:pt x="873" y="335"/>
                  <a:pt x="873" y="335"/>
                </a:cubicBezTo>
                <a:cubicBezTo>
                  <a:pt x="945" y="365"/>
                  <a:pt x="974" y="397"/>
                  <a:pt x="974" y="452"/>
                </a:cubicBezTo>
                <a:cubicBezTo>
                  <a:pt x="974" y="517"/>
                  <a:pt x="925" y="561"/>
                  <a:pt x="829" y="561"/>
                </a:cubicBezTo>
                <a:cubicBezTo>
                  <a:pt x="783" y="561"/>
                  <a:pt x="745" y="555"/>
                  <a:pt x="714" y="540"/>
                </a:cubicBezTo>
                <a:close/>
                <a:moveTo>
                  <a:pt x="1277" y="270"/>
                </a:moveTo>
                <a:cubicBezTo>
                  <a:pt x="1277" y="552"/>
                  <a:pt x="1277" y="552"/>
                  <a:pt x="1277" y="552"/>
                </a:cubicBezTo>
                <a:cubicBezTo>
                  <a:pt x="1220" y="552"/>
                  <a:pt x="1220" y="552"/>
                  <a:pt x="1220" y="552"/>
                </a:cubicBezTo>
                <a:cubicBezTo>
                  <a:pt x="1217" y="518"/>
                  <a:pt x="1217" y="518"/>
                  <a:pt x="1217" y="518"/>
                </a:cubicBezTo>
                <a:cubicBezTo>
                  <a:pt x="1201" y="543"/>
                  <a:pt x="1177" y="559"/>
                  <a:pt x="1138" y="559"/>
                </a:cubicBezTo>
                <a:cubicBezTo>
                  <a:pt x="1063" y="559"/>
                  <a:pt x="1013" y="505"/>
                  <a:pt x="1013" y="410"/>
                </a:cubicBezTo>
                <a:cubicBezTo>
                  <a:pt x="1013" y="311"/>
                  <a:pt x="1066" y="254"/>
                  <a:pt x="1171" y="254"/>
                </a:cubicBezTo>
                <a:cubicBezTo>
                  <a:pt x="1211" y="254"/>
                  <a:pt x="1245" y="259"/>
                  <a:pt x="1277" y="270"/>
                </a:cubicBezTo>
                <a:close/>
                <a:moveTo>
                  <a:pt x="1215" y="488"/>
                </a:moveTo>
                <a:cubicBezTo>
                  <a:pt x="1215" y="311"/>
                  <a:pt x="1215" y="311"/>
                  <a:pt x="1215" y="311"/>
                </a:cubicBezTo>
                <a:cubicBezTo>
                  <a:pt x="1202" y="309"/>
                  <a:pt x="1188" y="307"/>
                  <a:pt x="1171" y="307"/>
                </a:cubicBezTo>
                <a:cubicBezTo>
                  <a:pt x="1107" y="307"/>
                  <a:pt x="1077" y="347"/>
                  <a:pt x="1077" y="410"/>
                </a:cubicBezTo>
                <a:cubicBezTo>
                  <a:pt x="1077" y="468"/>
                  <a:pt x="1100" y="508"/>
                  <a:pt x="1155" y="508"/>
                </a:cubicBezTo>
                <a:cubicBezTo>
                  <a:pt x="1179" y="508"/>
                  <a:pt x="1199" y="500"/>
                  <a:pt x="1215" y="488"/>
                </a:cubicBezTo>
                <a:close/>
                <a:moveTo>
                  <a:pt x="1595" y="363"/>
                </a:moveTo>
                <a:cubicBezTo>
                  <a:pt x="1595" y="552"/>
                  <a:pt x="1595" y="552"/>
                  <a:pt x="1595" y="552"/>
                </a:cubicBezTo>
                <a:cubicBezTo>
                  <a:pt x="1533" y="552"/>
                  <a:pt x="1533" y="552"/>
                  <a:pt x="1533" y="552"/>
                </a:cubicBezTo>
                <a:cubicBezTo>
                  <a:pt x="1533" y="373"/>
                  <a:pt x="1533" y="373"/>
                  <a:pt x="1533" y="373"/>
                </a:cubicBezTo>
                <a:cubicBezTo>
                  <a:pt x="1533" y="329"/>
                  <a:pt x="1518" y="307"/>
                  <a:pt x="1456" y="307"/>
                </a:cubicBezTo>
                <a:cubicBezTo>
                  <a:pt x="1442" y="307"/>
                  <a:pt x="1424" y="309"/>
                  <a:pt x="1407" y="312"/>
                </a:cubicBezTo>
                <a:cubicBezTo>
                  <a:pt x="1407" y="552"/>
                  <a:pt x="1407" y="552"/>
                  <a:pt x="1407" y="552"/>
                </a:cubicBezTo>
                <a:cubicBezTo>
                  <a:pt x="1345" y="552"/>
                  <a:pt x="1345" y="552"/>
                  <a:pt x="1345" y="552"/>
                </a:cubicBezTo>
                <a:cubicBezTo>
                  <a:pt x="1345" y="270"/>
                  <a:pt x="1345" y="270"/>
                  <a:pt x="1345" y="270"/>
                </a:cubicBezTo>
                <a:cubicBezTo>
                  <a:pt x="1385" y="261"/>
                  <a:pt x="1428" y="254"/>
                  <a:pt x="1458" y="254"/>
                </a:cubicBezTo>
                <a:cubicBezTo>
                  <a:pt x="1562" y="254"/>
                  <a:pt x="1595" y="294"/>
                  <a:pt x="1595" y="363"/>
                </a:cubicBezTo>
                <a:close/>
                <a:moveTo>
                  <a:pt x="1767" y="506"/>
                </a:moveTo>
                <a:cubicBezTo>
                  <a:pt x="1785" y="506"/>
                  <a:pt x="1802" y="503"/>
                  <a:pt x="1816" y="498"/>
                </a:cubicBezTo>
                <a:cubicBezTo>
                  <a:pt x="1814" y="515"/>
                  <a:pt x="1812" y="534"/>
                  <a:pt x="1808" y="550"/>
                </a:cubicBezTo>
                <a:cubicBezTo>
                  <a:pt x="1791" y="557"/>
                  <a:pt x="1773" y="559"/>
                  <a:pt x="1756" y="559"/>
                </a:cubicBezTo>
                <a:cubicBezTo>
                  <a:pt x="1696" y="559"/>
                  <a:pt x="1657" y="531"/>
                  <a:pt x="1657" y="463"/>
                </a:cubicBezTo>
                <a:cubicBezTo>
                  <a:pt x="1657" y="166"/>
                  <a:pt x="1657" y="166"/>
                  <a:pt x="1657" y="166"/>
                </a:cubicBezTo>
                <a:cubicBezTo>
                  <a:pt x="1676" y="160"/>
                  <a:pt x="1700" y="157"/>
                  <a:pt x="1719" y="157"/>
                </a:cubicBezTo>
                <a:cubicBezTo>
                  <a:pt x="1719" y="264"/>
                  <a:pt x="1719" y="264"/>
                  <a:pt x="1719" y="264"/>
                </a:cubicBezTo>
                <a:cubicBezTo>
                  <a:pt x="1817" y="264"/>
                  <a:pt x="1817" y="264"/>
                  <a:pt x="1817" y="264"/>
                </a:cubicBezTo>
                <a:cubicBezTo>
                  <a:pt x="1816" y="283"/>
                  <a:pt x="1815" y="301"/>
                  <a:pt x="1812" y="317"/>
                </a:cubicBezTo>
                <a:cubicBezTo>
                  <a:pt x="1719" y="317"/>
                  <a:pt x="1719" y="317"/>
                  <a:pt x="1719" y="317"/>
                </a:cubicBezTo>
                <a:cubicBezTo>
                  <a:pt x="1719" y="455"/>
                  <a:pt x="1719" y="455"/>
                  <a:pt x="1719" y="455"/>
                </a:cubicBezTo>
                <a:cubicBezTo>
                  <a:pt x="1719" y="492"/>
                  <a:pt x="1737" y="506"/>
                  <a:pt x="1767" y="506"/>
                </a:cubicBezTo>
                <a:close/>
                <a:moveTo>
                  <a:pt x="2100" y="270"/>
                </a:moveTo>
                <a:cubicBezTo>
                  <a:pt x="2100" y="552"/>
                  <a:pt x="2100" y="552"/>
                  <a:pt x="2100" y="552"/>
                </a:cubicBezTo>
                <a:cubicBezTo>
                  <a:pt x="2043" y="552"/>
                  <a:pt x="2043" y="552"/>
                  <a:pt x="2043" y="552"/>
                </a:cubicBezTo>
                <a:cubicBezTo>
                  <a:pt x="2040" y="518"/>
                  <a:pt x="2040" y="518"/>
                  <a:pt x="2040" y="518"/>
                </a:cubicBezTo>
                <a:cubicBezTo>
                  <a:pt x="2024" y="543"/>
                  <a:pt x="2000" y="559"/>
                  <a:pt x="1960" y="559"/>
                </a:cubicBezTo>
                <a:cubicBezTo>
                  <a:pt x="1886" y="559"/>
                  <a:pt x="1836" y="505"/>
                  <a:pt x="1836" y="410"/>
                </a:cubicBezTo>
                <a:cubicBezTo>
                  <a:pt x="1836" y="311"/>
                  <a:pt x="1889" y="254"/>
                  <a:pt x="1993" y="254"/>
                </a:cubicBezTo>
                <a:cubicBezTo>
                  <a:pt x="2034" y="254"/>
                  <a:pt x="2067" y="259"/>
                  <a:pt x="2100" y="270"/>
                </a:cubicBezTo>
                <a:close/>
                <a:moveTo>
                  <a:pt x="2038" y="488"/>
                </a:moveTo>
                <a:cubicBezTo>
                  <a:pt x="2038" y="311"/>
                  <a:pt x="2038" y="311"/>
                  <a:pt x="2038" y="311"/>
                </a:cubicBezTo>
                <a:cubicBezTo>
                  <a:pt x="2025" y="309"/>
                  <a:pt x="2011" y="307"/>
                  <a:pt x="1993" y="307"/>
                </a:cubicBezTo>
                <a:cubicBezTo>
                  <a:pt x="1929" y="307"/>
                  <a:pt x="1899" y="347"/>
                  <a:pt x="1899" y="410"/>
                </a:cubicBezTo>
                <a:cubicBezTo>
                  <a:pt x="1899" y="468"/>
                  <a:pt x="1922" y="508"/>
                  <a:pt x="1978" y="508"/>
                </a:cubicBezTo>
                <a:cubicBezTo>
                  <a:pt x="2002" y="508"/>
                  <a:pt x="2022" y="500"/>
                  <a:pt x="2038" y="488"/>
                </a:cubicBezTo>
                <a:close/>
                <a:moveTo>
                  <a:pt x="2418" y="363"/>
                </a:moveTo>
                <a:cubicBezTo>
                  <a:pt x="2418" y="552"/>
                  <a:pt x="2418" y="552"/>
                  <a:pt x="2418" y="552"/>
                </a:cubicBezTo>
                <a:cubicBezTo>
                  <a:pt x="2356" y="552"/>
                  <a:pt x="2356" y="552"/>
                  <a:pt x="2356" y="552"/>
                </a:cubicBezTo>
                <a:cubicBezTo>
                  <a:pt x="2356" y="373"/>
                  <a:pt x="2356" y="373"/>
                  <a:pt x="2356" y="373"/>
                </a:cubicBezTo>
                <a:cubicBezTo>
                  <a:pt x="2356" y="329"/>
                  <a:pt x="2341" y="307"/>
                  <a:pt x="2279" y="307"/>
                </a:cubicBezTo>
                <a:cubicBezTo>
                  <a:pt x="2264" y="307"/>
                  <a:pt x="2247" y="309"/>
                  <a:pt x="2230" y="312"/>
                </a:cubicBezTo>
                <a:cubicBezTo>
                  <a:pt x="2230" y="552"/>
                  <a:pt x="2230" y="552"/>
                  <a:pt x="2230" y="552"/>
                </a:cubicBezTo>
                <a:cubicBezTo>
                  <a:pt x="2168" y="552"/>
                  <a:pt x="2168" y="552"/>
                  <a:pt x="2168" y="552"/>
                </a:cubicBezTo>
                <a:cubicBezTo>
                  <a:pt x="2168" y="270"/>
                  <a:pt x="2168" y="270"/>
                  <a:pt x="2168" y="270"/>
                </a:cubicBezTo>
                <a:cubicBezTo>
                  <a:pt x="2207" y="261"/>
                  <a:pt x="2251" y="254"/>
                  <a:pt x="2281" y="254"/>
                </a:cubicBezTo>
                <a:cubicBezTo>
                  <a:pt x="2384" y="254"/>
                  <a:pt x="2418" y="294"/>
                  <a:pt x="2418" y="363"/>
                </a:cubicBezTo>
                <a:close/>
                <a:moveTo>
                  <a:pt x="2733" y="157"/>
                </a:moveTo>
                <a:cubicBezTo>
                  <a:pt x="2733" y="552"/>
                  <a:pt x="2733" y="552"/>
                  <a:pt x="2733" y="552"/>
                </a:cubicBezTo>
                <a:cubicBezTo>
                  <a:pt x="2676" y="552"/>
                  <a:pt x="2676" y="552"/>
                  <a:pt x="2676" y="552"/>
                </a:cubicBezTo>
                <a:cubicBezTo>
                  <a:pt x="2672" y="516"/>
                  <a:pt x="2672" y="516"/>
                  <a:pt x="2672" y="516"/>
                </a:cubicBezTo>
                <a:cubicBezTo>
                  <a:pt x="2656" y="543"/>
                  <a:pt x="2632" y="559"/>
                  <a:pt x="2591" y="559"/>
                </a:cubicBezTo>
                <a:cubicBezTo>
                  <a:pt x="2517" y="559"/>
                  <a:pt x="2467" y="505"/>
                  <a:pt x="2467" y="410"/>
                </a:cubicBezTo>
                <a:cubicBezTo>
                  <a:pt x="2467" y="311"/>
                  <a:pt x="2520" y="254"/>
                  <a:pt x="2625" y="254"/>
                </a:cubicBezTo>
                <a:cubicBezTo>
                  <a:pt x="2641" y="254"/>
                  <a:pt x="2656" y="256"/>
                  <a:pt x="2671" y="259"/>
                </a:cubicBezTo>
                <a:cubicBezTo>
                  <a:pt x="2671" y="166"/>
                  <a:pt x="2671" y="166"/>
                  <a:pt x="2671" y="166"/>
                </a:cubicBezTo>
                <a:cubicBezTo>
                  <a:pt x="2690" y="159"/>
                  <a:pt x="2712" y="157"/>
                  <a:pt x="2733" y="157"/>
                </a:cubicBezTo>
                <a:close/>
                <a:moveTo>
                  <a:pt x="2671" y="487"/>
                </a:moveTo>
                <a:cubicBezTo>
                  <a:pt x="2671" y="313"/>
                  <a:pt x="2671" y="313"/>
                  <a:pt x="2671" y="313"/>
                </a:cubicBezTo>
                <a:cubicBezTo>
                  <a:pt x="2655" y="310"/>
                  <a:pt x="2638" y="307"/>
                  <a:pt x="2621" y="307"/>
                </a:cubicBezTo>
                <a:cubicBezTo>
                  <a:pt x="2560" y="307"/>
                  <a:pt x="2531" y="346"/>
                  <a:pt x="2531" y="410"/>
                </a:cubicBezTo>
                <a:cubicBezTo>
                  <a:pt x="2531" y="468"/>
                  <a:pt x="2554" y="508"/>
                  <a:pt x="2609" y="508"/>
                </a:cubicBezTo>
                <a:cubicBezTo>
                  <a:pt x="2634" y="508"/>
                  <a:pt x="2654" y="500"/>
                  <a:pt x="2671" y="487"/>
                </a:cubicBezTo>
                <a:close/>
                <a:moveTo>
                  <a:pt x="3045" y="432"/>
                </a:moveTo>
                <a:cubicBezTo>
                  <a:pt x="2847" y="432"/>
                  <a:pt x="2847" y="432"/>
                  <a:pt x="2847" y="432"/>
                </a:cubicBezTo>
                <a:cubicBezTo>
                  <a:pt x="2854" y="482"/>
                  <a:pt x="2884" y="506"/>
                  <a:pt x="2939" y="506"/>
                </a:cubicBezTo>
                <a:cubicBezTo>
                  <a:pt x="2973" y="506"/>
                  <a:pt x="3007" y="499"/>
                  <a:pt x="3038" y="485"/>
                </a:cubicBezTo>
                <a:cubicBezTo>
                  <a:pt x="3036" y="501"/>
                  <a:pt x="3033" y="522"/>
                  <a:pt x="3029" y="541"/>
                </a:cubicBezTo>
                <a:cubicBezTo>
                  <a:pt x="3001" y="554"/>
                  <a:pt x="2971" y="559"/>
                  <a:pt x="2937" y="559"/>
                </a:cubicBezTo>
                <a:cubicBezTo>
                  <a:pt x="2834" y="559"/>
                  <a:pt x="2783" y="502"/>
                  <a:pt x="2783" y="405"/>
                </a:cubicBezTo>
                <a:cubicBezTo>
                  <a:pt x="2783" y="321"/>
                  <a:pt x="2822" y="254"/>
                  <a:pt x="2921" y="254"/>
                </a:cubicBezTo>
                <a:cubicBezTo>
                  <a:pt x="3010" y="254"/>
                  <a:pt x="3048" y="313"/>
                  <a:pt x="3048" y="384"/>
                </a:cubicBezTo>
                <a:cubicBezTo>
                  <a:pt x="3048" y="401"/>
                  <a:pt x="3047" y="415"/>
                  <a:pt x="3045" y="432"/>
                </a:cubicBezTo>
                <a:close/>
                <a:moveTo>
                  <a:pt x="2845" y="380"/>
                </a:moveTo>
                <a:cubicBezTo>
                  <a:pt x="2985" y="380"/>
                  <a:pt x="2985" y="380"/>
                  <a:pt x="2985" y="380"/>
                </a:cubicBezTo>
                <a:cubicBezTo>
                  <a:pt x="2985" y="333"/>
                  <a:pt x="2960" y="306"/>
                  <a:pt x="2918" y="306"/>
                </a:cubicBezTo>
                <a:cubicBezTo>
                  <a:pt x="2874" y="306"/>
                  <a:pt x="2850" y="332"/>
                  <a:pt x="2845" y="380"/>
                </a:cubicBezTo>
                <a:close/>
                <a:moveTo>
                  <a:pt x="3262" y="257"/>
                </a:moveTo>
                <a:cubicBezTo>
                  <a:pt x="3262" y="275"/>
                  <a:pt x="3260" y="298"/>
                  <a:pt x="3256" y="310"/>
                </a:cubicBezTo>
                <a:cubicBezTo>
                  <a:pt x="3241" y="308"/>
                  <a:pt x="3227" y="307"/>
                  <a:pt x="3209" y="307"/>
                </a:cubicBezTo>
                <a:cubicBezTo>
                  <a:pt x="3194" y="307"/>
                  <a:pt x="3179" y="309"/>
                  <a:pt x="3164" y="311"/>
                </a:cubicBezTo>
                <a:cubicBezTo>
                  <a:pt x="3164" y="552"/>
                  <a:pt x="3164" y="552"/>
                  <a:pt x="3164" y="552"/>
                </a:cubicBezTo>
                <a:cubicBezTo>
                  <a:pt x="3102" y="552"/>
                  <a:pt x="3102" y="552"/>
                  <a:pt x="3102" y="552"/>
                </a:cubicBezTo>
                <a:cubicBezTo>
                  <a:pt x="3102" y="270"/>
                  <a:pt x="3102" y="270"/>
                  <a:pt x="3102" y="270"/>
                </a:cubicBezTo>
                <a:cubicBezTo>
                  <a:pt x="3128" y="261"/>
                  <a:pt x="3173" y="254"/>
                  <a:pt x="3208" y="254"/>
                </a:cubicBezTo>
                <a:cubicBezTo>
                  <a:pt x="3227" y="254"/>
                  <a:pt x="3248" y="255"/>
                  <a:pt x="3262" y="2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24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4584E2-502C-4C2A-B245-90633A3B5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41151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14584E2-502C-4C2A-B245-90633A3B5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97B6-E32F-4D7D-B839-7C3B51F2640F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757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2">
          <p15:clr>
            <a:srgbClr val="F26B43"/>
          </p15:clr>
        </p15:guide>
        <p15:guide id="2" pos="7225">
          <p15:clr>
            <a:srgbClr val="F26B43"/>
          </p15:clr>
        </p15:guide>
        <p15:guide id="3" pos="5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DDC48D-2F2C-4D6A-A963-8CEA13D28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6663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DDC48D-2F2C-4D6A-A963-8CEA13D28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97B6-E32F-4D7D-B839-7C3B51F2640F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0036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2">
          <p15:clr>
            <a:srgbClr val="F26B43"/>
          </p15:clr>
        </p15:guide>
        <p15:guide id="2" pos="7225">
          <p15:clr>
            <a:srgbClr val="F26B43"/>
          </p15:clr>
        </p15:guide>
        <p15:guide id="3" pos="5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A8ACF1-1FB3-4A6E-92E7-6E647F15F3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51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A8ACF1-1FB3-4A6E-92E7-6E647F15F3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40447380-3E61-4E42-AFCA-CAF1866AAF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29" y="1315138"/>
            <a:ext cx="11328742" cy="1407004"/>
          </a:xfrm>
        </p:spPr>
        <p:txBody>
          <a:bodyPr vert="horz"/>
          <a:lstStyle/>
          <a:p>
            <a:r>
              <a:rPr lang="en-US" noProof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ThetaRay </a:t>
            </a:r>
            <a:r>
              <a:rPr lang="en-US" sz="4000" noProof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v5 vs v6 </a:t>
            </a:r>
            <a:endParaRPr lang="en-US" noProof="0" dirty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D184A763-02A6-4822-A5F0-D9E80A5D80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620" y="2722142"/>
            <a:ext cx="4934309" cy="1125958"/>
          </a:xfrm>
        </p:spPr>
        <p:txBody>
          <a:bodyPr/>
          <a:lstStyle/>
          <a:p>
            <a:endParaRPr lang="en-US" noProof="0" dirty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20/05/2022</a:t>
            </a:r>
            <a:endParaRPr lang="en-US" noProof="0" dirty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846C0DCE-BC9C-49A6-A719-B8608011D8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noProof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Compliance &amp; Financial Crime. Boadilla del Monte. </a:t>
            </a:r>
          </a:p>
        </p:txBody>
      </p:sp>
    </p:spTree>
    <p:extLst>
      <p:ext uri="{BB962C8B-B14F-4D97-AF65-F5344CB8AC3E}">
        <p14:creationId xmlns:p14="http://schemas.microsoft.com/office/powerpoint/2010/main" val="1542755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06D322-D65F-4AA1-86D8-5989EFDC7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4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06D322-D65F-4AA1-86D8-5989EFDC7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4E28E4-126B-4513-8568-8C2A86FD0469}"/>
              </a:ext>
            </a:extLst>
          </p:cNvPr>
          <p:cNvSpPr/>
          <p:nvPr/>
        </p:nvSpPr>
        <p:spPr>
          <a:xfrm>
            <a:off x="3383713" y="1490027"/>
            <a:ext cx="8441251" cy="4614795"/>
          </a:xfrm>
          <a:prstGeom prst="rect">
            <a:avLst/>
          </a:prstGeom>
          <a:solidFill>
            <a:schemeClr val="tx2">
              <a:lumMod val="20000"/>
              <a:lumOff val="8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F0D92A-F739-4416-B3C4-85E986E26B17}"/>
              </a:ext>
            </a:extLst>
          </p:cNvPr>
          <p:cNvSpPr/>
          <p:nvPr/>
        </p:nvSpPr>
        <p:spPr>
          <a:xfrm>
            <a:off x="414113" y="1131750"/>
            <a:ext cx="2969600" cy="4973072"/>
          </a:xfrm>
          <a:prstGeom prst="rect">
            <a:avLst/>
          </a:prstGeom>
          <a:solidFill>
            <a:schemeClr val="tx2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E6D9F9D-EA78-45EB-A329-F1D9F1D0F425}"/>
              </a:ext>
            </a:extLst>
          </p:cNvPr>
          <p:cNvSpPr/>
          <p:nvPr/>
        </p:nvSpPr>
        <p:spPr>
          <a:xfrm>
            <a:off x="411517" y="1128731"/>
            <a:ext cx="2974791" cy="36681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 b="1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EF111281-EBC1-45F5-A61A-127302E51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20960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0D97B6-E32F-4D7D-B839-7C3B51F2640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srgbClr val="EC0000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srgbClr val="EC0000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39" name="Título 4">
            <a:extLst>
              <a:ext uri="{FF2B5EF4-FFF2-40B4-BE49-F238E27FC236}">
                <a16:creationId xmlns:a16="http://schemas.microsoft.com/office/drawing/2014/main" id="{D022CD94-B6A3-40C7-940A-88A50444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419296"/>
            <a:ext cx="7632876" cy="430918"/>
          </a:xfrm>
        </p:spPr>
        <p:txBody>
          <a:bodyPr vert="horz"/>
          <a:lstStyle/>
          <a:p>
            <a:r>
              <a:rPr lang="es-ES" sz="2800"/>
              <a:t>ThetaRay version comparison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A4A3689-DBE2-40CF-B5F3-2F5A7EF17177}"/>
              </a:ext>
            </a:extLst>
          </p:cNvPr>
          <p:cNvCxnSpPr/>
          <p:nvPr/>
        </p:nvCxnSpPr>
        <p:spPr>
          <a:xfrm>
            <a:off x="621792" y="932688"/>
            <a:ext cx="110888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F29AB2D3-43DF-47A0-886F-BBC1362D16F6}"/>
              </a:ext>
            </a:extLst>
          </p:cNvPr>
          <p:cNvSpPr/>
          <p:nvPr/>
        </p:nvSpPr>
        <p:spPr>
          <a:xfrm>
            <a:off x="3383712" y="1128731"/>
            <a:ext cx="8441251" cy="366814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 b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C2E55E7-A83C-4402-BDDE-6D27AA3C4865}"/>
              </a:ext>
            </a:extLst>
          </p:cNvPr>
          <p:cNvGrpSpPr/>
          <p:nvPr/>
        </p:nvGrpSpPr>
        <p:grpSpPr>
          <a:xfrm>
            <a:off x="3465234" y="1172503"/>
            <a:ext cx="3577692" cy="4845907"/>
            <a:chOff x="3350934" y="1277278"/>
            <a:chExt cx="3577692" cy="4845907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5A9873B-3972-4077-A047-3036D9A3F019}"/>
                </a:ext>
              </a:extLst>
            </p:cNvPr>
            <p:cNvSpPr txBox="1"/>
            <p:nvPr/>
          </p:nvSpPr>
          <p:spPr>
            <a:xfrm>
              <a:off x="3360456" y="1803274"/>
              <a:ext cx="3568170" cy="276998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Problems when the limit of shards is reache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ttends to requests on an individual level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Monitoring center with limited functionalities</a:t>
              </a:r>
            </a:p>
            <a:p>
              <a:endParaRPr lang="en-US" sz="1200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TLS only in external rout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Basic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Mandatory duplicate the data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pic>
          <p:nvPicPr>
            <p:cNvPr id="72" name="Graphic 71" descr="Clipboard Partially Checked outline">
              <a:extLst>
                <a:ext uri="{FF2B5EF4-FFF2-40B4-BE49-F238E27FC236}">
                  <a16:creationId xmlns:a16="http://schemas.microsoft.com/office/drawing/2014/main" id="{53BED147-9A35-4EF3-B42F-6BAAD139C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50650" y="4705822"/>
              <a:ext cx="1417363" cy="1417363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865407F-6427-4793-8B51-D87D5A39CAE4}"/>
                </a:ext>
              </a:extLst>
            </p:cNvPr>
            <p:cNvSpPr txBox="1"/>
            <p:nvPr/>
          </p:nvSpPr>
          <p:spPr>
            <a:xfrm>
              <a:off x="4600439" y="1277278"/>
              <a:ext cx="8956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Version 5</a:t>
              </a:r>
            </a:p>
          </p:txBody>
        </p:sp>
        <p:pic>
          <p:nvPicPr>
            <p:cNvPr id="41" name="Graphic 40" descr="Gears outline">
              <a:extLst>
                <a:ext uri="{FF2B5EF4-FFF2-40B4-BE49-F238E27FC236}">
                  <a16:creationId xmlns:a16="http://schemas.microsoft.com/office/drawing/2014/main" id="{5C9C252E-3F95-45C9-8FE5-F1B898B01B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06687" y="1877661"/>
              <a:ext cx="2466903" cy="2285757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D5149FC-CB71-4283-86FC-4557416F06BD}"/>
                </a:ext>
              </a:extLst>
            </p:cNvPr>
            <p:cNvSpPr txBox="1"/>
            <p:nvPr/>
          </p:nvSpPr>
          <p:spPr>
            <a:xfrm>
              <a:off x="3350934" y="4756359"/>
              <a:ext cx="328271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oes not exist (via Kafka)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endParaRPr lang="en-US" sz="1200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Reduced number of algorithms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EB2DCF2-B2B4-4D22-ACC7-045FD8C0B3B7}"/>
              </a:ext>
            </a:extLst>
          </p:cNvPr>
          <p:cNvGrpSpPr/>
          <p:nvPr/>
        </p:nvGrpSpPr>
        <p:grpSpPr>
          <a:xfrm>
            <a:off x="492908" y="1158299"/>
            <a:ext cx="2935378" cy="4993750"/>
            <a:chOff x="378608" y="1263074"/>
            <a:chExt cx="2935378" cy="4993750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1865D26-770B-4EA2-8A44-1D67B0CF78C1}"/>
                </a:ext>
              </a:extLst>
            </p:cNvPr>
            <p:cNvSpPr txBox="1"/>
            <p:nvPr/>
          </p:nvSpPr>
          <p:spPr>
            <a:xfrm>
              <a:off x="903152" y="1803274"/>
              <a:ext cx="2410834" cy="313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Use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of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ElasticSearch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storage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Code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versioning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Model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versioning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Model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results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comparison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Algo Server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Parallel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execution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of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analysis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Batch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control</a:t>
              </a:r>
            </a:p>
            <a:p>
              <a:pPr algn="just"/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Security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improvements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Workspace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per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user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Data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segregation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Ephemeral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 Environment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Autoscaling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Task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orchestrator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Data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between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processes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endParaRPr lang="es-ES" b="1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C5F5B59-5E67-48B4-A99A-3F4E00B8539C}"/>
                </a:ext>
              </a:extLst>
            </p:cNvPr>
            <p:cNvSpPr txBox="1"/>
            <p:nvPr/>
          </p:nvSpPr>
          <p:spPr>
            <a:xfrm>
              <a:off x="1094368" y="1263074"/>
              <a:ext cx="13804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FUNCTIONALITY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14C91CE-9993-4C65-8C72-33DADEF85B28}"/>
                </a:ext>
              </a:extLst>
            </p:cNvPr>
            <p:cNvSpPr txBox="1"/>
            <p:nvPr/>
          </p:nvSpPr>
          <p:spPr>
            <a:xfrm>
              <a:off x="386039" y="2105579"/>
              <a:ext cx="430887" cy="1827565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rgbClr val="0D123B"/>
                  </a:solidFill>
                </a:rPr>
                <a:t>TECHNICAL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389312CD-A726-4792-85B0-5BF2F6526FD5}"/>
                </a:ext>
              </a:extLst>
            </p:cNvPr>
            <p:cNvSpPr txBox="1"/>
            <p:nvPr/>
          </p:nvSpPr>
          <p:spPr>
            <a:xfrm>
              <a:off x="903152" y="4756359"/>
              <a:ext cx="241083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Consolidated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alerts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Activiti</a:t>
              </a: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>
                  <a:solidFill>
                    <a:schemeClr val="tx2">
                      <a:lumMod val="75000"/>
                    </a:schemeClr>
                  </a:solidFill>
                </a:rPr>
                <a:t>API </a:t>
              </a: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reporting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b="1" err="1">
                  <a:solidFill>
                    <a:schemeClr val="tx2">
                      <a:lumMod val="75000"/>
                    </a:schemeClr>
                  </a:solidFill>
                </a:rPr>
                <a:t>Algorithms</a:t>
              </a:r>
              <a:endParaRPr lang="es-ES" sz="1200" b="1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20DDB5B-B3C8-463D-BFD6-2C1A5856F023}"/>
                </a:ext>
              </a:extLst>
            </p:cNvPr>
            <p:cNvSpPr txBox="1"/>
            <p:nvPr/>
          </p:nvSpPr>
          <p:spPr>
            <a:xfrm>
              <a:off x="378608" y="4429259"/>
              <a:ext cx="430887" cy="1827565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D123B"/>
                  </a:solidFill>
                </a:rPr>
                <a:t>FUNCTIONAL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BBE3F14-A47C-42B2-B552-8628A1A7E269}"/>
              </a:ext>
            </a:extLst>
          </p:cNvPr>
          <p:cNvGrpSpPr/>
          <p:nvPr/>
        </p:nvGrpSpPr>
        <p:grpSpPr>
          <a:xfrm>
            <a:off x="3474756" y="1925286"/>
            <a:ext cx="8268594" cy="4093124"/>
            <a:chOff x="3789081" y="1772886"/>
            <a:chExt cx="8268594" cy="4093124"/>
          </a:xfrm>
        </p:grpSpPr>
        <p:cxnSp>
          <p:nvCxnSpPr>
            <p:cNvPr id="63" name="Conector recto 20">
              <a:extLst>
                <a:ext uri="{FF2B5EF4-FFF2-40B4-BE49-F238E27FC236}">
                  <a16:creationId xmlns:a16="http://schemas.microsoft.com/office/drawing/2014/main" id="{2BD8C5FE-5618-4F67-A3FE-97B7EA5DF2BF}"/>
                </a:ext>
              </a:extLst>
            </p:cNvPr>
            <p:cNvCxnSpPr>
              <a:cxnSpLocks/>
            </p:cNvCxnSpPr>
            <p:nvPr/>
          </p:nvCxnSpPr>
          <p:spPr>
            <a:xfrm>
              <a:off x="8235072" y="4381682"/>
              <a:ext cx="3822603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cto 23">
              <a:extLst>
                <a:ext uri="{FF2B5EF4-FFF2-40B4-BE49-F238E27FC236}">
                  <a16:creationId xmlns:a16="http://schemas.microsoft.com/office/drawing/2014/main" id="{296961FE-93D1-45A3-BF78-AC87BB7816FC}"/>
                </a:ext>
              </a:extLst>
            </p:cNvPr>
            <p:cNvCxnSpPr>
              <a:cxnSpLocks/>
              <a:endCxn id="59" idx="1"/>
            </p:cNvCxnSpPr>
            <p:nvPr/>
          </p:nvCxnSpPr>
          <p:spPr>
            <a:xfrm>
              <a:off x="7379656" y="1772886"/>
              <a:ext cx="197" cy="1776875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cto 23">
              <a:extLst>
                <a:ext uri="{FF2B5EF4-FFF2-40B4-BE49-F238E27FC236}">
                  <a16:creationId xmlns:a16="http://schemas.microsoft.com/office/drawing/2014/main" id="{2769D2C9-DC31-4E44-AE68-9007E8E8C989}"/>
                </a:ext>
              </a:extLst>
            </p:cNvPr>
            <p:cNvCxnSpPr>
              <a:cxnSpLocks/>
            </p:cNvCxnSpPr>
            <p:nvPr/>
          </p:nvCxnSpPr>
          <p:spPr>
            <a:xfrm>
              <a:off x="7377832" y="5128392"/>
              <a:ext cx="0" cy="73761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cto 20">
              <a:extLst>
                <a:ext uri="{FF2B5EF4-FFF2-40B4-BE49-F238E27FC236}">
                  <a16:creationId xmlns:a16="http://schemas.microsoft.com/office/drawing/2014/main" id="{A985DB31-74F6-4FB7-823C-8292032F0148}"/>
                </a:ext>
              </a:extLst>
            </p:cNvPr>
            <p:cNvCxnSpPr>
              <a:cxnSpLocks/>
            </p:cNvCxnSpPr>
            <p:nvPr/>
          </p:nvCxnSpPr>
          <p:spPr>
            <a:xfrm>
              <a:off x="3789081" y="4381682"/>
              <a:ext cx="27781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2748450-3D9C-4A5A-8418-5495BEA99801}"/>
                </a:ext>
              </a:extLst>
            </p:cNvPr>
            <p:cNvGrpSpPr/>
            <p:nvPr/>
          </p:nvGrpSpPr>
          <p:grpSpPr>
            <a:xfrm>
              <a:off x="6477833" y="3474362"/>
              <a:ext cx="1800001" cy="1800445"/>
              <a:chOff x="6436866" y="3066744"/>
              <a:chExt cx="1800001" cy="1800445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F5BAB86E-24ED-4A8D-A059-6E440EE59DC0}"/>
                  </a:ext>
                </a:extLst>
              </p:cNvPr>
              <p:cNvGrpSpPr/>
              <p:nvPr/>
            </p:nvGrpSpPr>
            <p:grpSpPr>
              <a:xfrm>
                <a:off x="6436866" y="3066744"/>
                <a:ext cx="1800001" cy="1800445"/>
                <a:chOff x="6442687" y="3064958"/>
                <a:chExt cx="1800001" cy="1800445"/>
              </a:xfrm>
            </p:grpSpPr>
            <p:sp>
              <p:nvSpPr>
                <p:cNvPr id="52" name="Block Arc 127">
                  <a:extLst>
                    <a:ext uri="{FF2B5EF4-FFF2-40B4-BE49-F238E27FC236}">
                      <a16:creationId xmlns:a16="http://schemas.microsoft.com/office/drawing/2014/main" id="{7EBDBDCF-7B86-43FB-8E93-FA13A8F9A9EC}"/>
                    </a:ext>
                  </a:extLst>
                </p:cNvPr>
                <p:cNvSpPr/>
                <p:nvPr/>
              </p:nvSpPr>
              <p:spPr>
                <a:xfrm rot="10800000">
                  <a:off x="6442687" y="3065403"/>
                  <a:ext cx="1800000" cy="1800000"/>
                </a:xfrm>
                <a:prstGeom prst="blockArc">
                  <a:avLst>
                    <a:gd name="adj1" fmla="val 16196600"/>
                    <a:gd name="adj2" fmla="val 16182"/>
                    <a:gd name="adj3" fmla="val 8308"/>
                  </a:avLst>
                </a:prstGeom>
                <a:solidFill>
                  <a:srgbClr val="0D123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antander Text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Block Arc 127">
                  <a:extLst>
                    <a:ext uri="{FF2B5EF4-FFF2-40B4-BE49-F238E27FC236}">
                      <a16:creationId xmlns:a16="http://schemas.microsoft.com/office/drawing/2014/main" id="{0804FA1A-8A01-4C33-8F7E-B5887C6E318E}"/>
                    </a:ext>
                  </a:extLst>
                </p:cNvPr>
                <p:cNvSpPr/>
                <p:nvPr/>
              </p:nvSpPr>
              <p:spPr>
                <a:xfrm rot="10800000">
                  <a:off x="6442687" y="3064958"/>
                  <a:ext cx="1800000" cy="1800000"/>
                </a:xfrm>
                <a:prstGeom prst="blockArc">
                  <a:avLst>
                    <a:gd name="adj1" fmla="val 10821029"/>
                    <a:gd name="adj2" fmla="val 16203653"/>
                    <a:gd name="adj3" fmla="val 8475"/>
                  </a:avLst>
                </a:prstGeom>
                <a:solidFill>
                  <a:srgbClr val="99BDD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antander Text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Block Arc 127">
                  <a:extLst>
                    <a:ext uri="{FF2B5EF4-FFF2-40B4-BE49-F238E27FC236}">
                      <a16:creationId xmlns:a16="http://schemas.microsoft.com/office/drawing/2014/main" id="{2F006BFA-5CF1-4976-9E5C-9D154E998A58}"/>
                    </a:ext>
                  </a:extLst>
                </p:cNvPr>
                <p:cNvSpPr/>
                <p:nvPr/>
              </p:nvSpPr>
              <p:spPr>
                <a:xfrm rot="10800000">
                  <a:off x="6442687" y="3065403"/>
                  <a:ext cx="1800000" cy="1800000"/>
                </a:xfrm>
                <a:prstGeom prst="blockArc">
                  <a:avLst>
                    <a:gd name="adj1" fmla="val 1676"/>
                    <a:gd name="adj2" fmla="val 5408418"/>
                    <a:gd name="adj3" fmla="val 8328"/>
                  </a:avLst>
                </a:prstGeom>
                <a:solidFill>
                  <a:srgbClr val="464A6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antander Text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Block Arc 127">
                  <a:extLst>
                    <a:ext uri="{FF2B5EF4-FFF2-40B4-BE49-F238E27FC236}">
                      <a16:creationId xmlns:a16="http://schemas.microsoft.com/office/drawing/2014/main" id="{EC436EA5-5DCF-4AC4-B284-30B8F8F972E5}"/>
                    </a:ext>
                  </a:extLst>
                </p:cNvPr>
                <p:cNvSpPr/>
                <p:nvPr/>
              </p:nvSpPr>
              <p:spPr>
                <a:xfrm rot="10800000">
                  <a:off x="6442688" y="3065403"/>
                  <a:ext cx="1800000" cy="1800000"/>
                </a:xfrm>
                <a:prstGeom prst="blockArc">
                  <a:avLst>
                    <a:gd name="adj1" fmla="val 5404962"/>
                    <a:gd name="adj2" fmla="val 10824360"/>
                    <a:gd name="adj3" fmla="val 8519"/>
                  </a:avLst>
                </a:prstGeom>
                <a:solidFill>
                  <a:srgbClr val="5492C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antander Tex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1" name="Picture 50" descr="ThetaRay - transforming the way the world benefits from data">
                <a:extLst>
                  <a:ext uri="{FF2B5EF4-FFF2-40B4-BE49-F238E27FC236}">
                    <a16:creationId xmlns:a16="http://schemas.microsoft.com/office/drawing/2014/main" id="{00B31476-295E-475A-89E9-1C0166EC88A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61889" y="3878840"/>
                <a:ext cx="1349952" cy="1758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CFF064D-DF24-40C8-B486-CE7C36E99965}"/>
              </a:ext>
            </a:extLst>
          </p:cNvPr>
          <p:cNvGrpSpPr/>
          <p:nvPr/>
        </p:nvGrpSpPr>
        <p:grpSpPr>
          <a:xfrm>
            <a:off x="8071219" y="1162610"/>
            <a:ext cx="3877290" cy="4893544"/>
            <a:chOff x="8118844" y="1267385"/>
            <a:chExt cx="3877290" cy="4893544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F9FBE67-958F-4435-B532-24C2FFC7DB1A}"/>
                </a:ext>
              </a:extLst>
            </p:cNvPr>
            <p:cNvSpPr txBox="1"/>
            <p:nvPr/>
          </p:nvSpPr>
          <p:spPr>
            <a:xfrm>
              <a:off x="8118844" y="1803274"/>
              <a:ext cx="3671933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Postgres is used instead of ElasticSearch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Git is embedded into the solution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 err="1">
                  <a:solidFill>
                    <a:schemeClr val="tx2">
                      <a:lumMod val="75000"/>
                    </a:schemeClr>
                  </a:solidFill>
                </a:rPr>
                <a:t>MLFlow</a:t>
              </a: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 and Git used as a model repository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 err="1">
                  <a:solidFill>
                    <a:schemeClr val="tx2">
                      <a:lumMod val="75000"/>
                    </a:schemeClr>
                  </a:solidFill>
                </a:rPr>
                <a:t>MLFLow</a:t>
              </a: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 allows comparing different experiments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Runs in its own Pod (not generate dependencies)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Several tenants can run in parallel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irflow provides details of runs with history and allows intermediate controls.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TLS in internal and external connections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bility to develop without affecting others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llows segregation of data for different units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Develop without affecting the PRO environment 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Greater control over the resources  employed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irflow component allows for optimized planning</a:t>
              </a: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llow data sharing between different processes</a:t>
              </a:r>
            </a:p>
          </p:txBody>
        </p:sp>
        <p:pic>
          <p:nvPicPr>
            <p:cNvPr id="49" name="Graphic 48" descr="Gears outline">
              <a:extLst>
                <a:ext uri="{FF2B5EF4-FFF2-40B4-BE49-F238E27FC236}">
                  <a16:creationId xmlns:a16="http://schemas.microsoft.com/office/drawing/2014/main" id="{3F75461F-7B84-4393-834B-1588F66AE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529231" y="1544764"/>
              <a:ext cx="2466903" cy="2285757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84F75DA-37A2-435D-A6CB-8F2EB6097144}"/>
                </a:ext>
              </a:extLst>
            </p:cNvPr>
            <p:cNvSpPr txBox="1"/>
            <p:nvPr/>
          </p:nvSpPr>
          <p:spPr>
            <a:xfrm>
              <a:off x="9346185" y="1267385"/>
              <a:ext cx="8956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Version 6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8DC6ACF3-8B69-4E77-81E1-0A35AF5A9F43}"/>
                </a:ext>
              </a:extLst>
            </p:cNvPr>
            <p:cNvSpPr txBox="1"/>
            <p:nvPr/>
          </p:nvSpPr>
          <p:spPr>
            <a:xfrm>
              <a:off x="8123025" y="4756359"/>
              <a:ext cx="339710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Anomalies of the same entity are consolidated into a single alert </a:t>
              </a:r>
              <a:endParaRPr lang="es-ES" sz="1200">
                <a:solidFill>
                  <a:schemeClr val="tx2">
                    <a:lumMod val="7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§"/>
              </a:pPr>
              <a:r>
                <a:rPr lang="es-ES" sz="1200" err="1">
                  <a:solidFill>
                    <a:schemeClr val="tx2">
                      <a:lumMod val="75000"/>
                    </a:schemeClr>
                  </a:solidFill>
                </a:rPr>
                <a:t>Workflow</a:t>
              </a:r>
              <a:r>
                <a:rPr lang="es-ES" sz="120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err="1">
                  <a:solidFill>
                    <a:schemeClr val="tx2">
                      <a:lumMod val="75000"/>
                    </a:schemeClr>
                  </a:solidFill>
                </a:rPr>
                <a:t>design</a:t>
              </a:r>
              <a:r>
                <a:rPr lang="es-ES" sz="120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err="1">
                  <a:solidFill>
                    <a:schemeClr val="tx2">
                      <a:lumMod val="75000"/>
                    </a:schemeClr>
                  </a:solidFill>
                </a:rPr>
                <a:t>tool</a:t>
              </a:r>
              <a:r>
                <a:rPr lang="es-ES" sz="120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r>
                <a:rPr lang="es-ES" sz="1200" err="1">
                  <a:solidFill>
                    <a:schemeClr val="tx2">
                      <a:lumMod val="75000"/>
                    </a:schemeClr>
                  </a:solidFill>
                </a:rPr>
                <a:t>included</a:t>
              </a:r>
              <a:r>
                <a:rPr lang="es-ES" sz="120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err="1">
                  <a:solidFill>
                    <a:schemeClr val="tx2">
                      <a:lumMod val="75000"/>
                    </a:schemeClr>
                  </a:solidFill>
                </a:rPr>
                <a:t>Hasura</a:t>
              </a: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 allows the extraction of the information in Postgr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tx2">
                      <a:lumMod val="75000"/>
                    </a:schemeClr>
                  </a:solidFill>
                </a:rPr>
                <a:t>Introduction of new algorithms</a:t>
              </a:r>
              <a:endParaRPr lang="es-ES" sz="120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pic>
          <p:nvPicPr>
            <p:cNvPr id="57" name="Graphic 56" descr="Clipboard Partially Checked outline">
              <a:extLst>
                <a:ext uri="{FF2B5EF4-FFF2-40B4-BE49-F238E27FC236}">
                  <a16:creationId xmlns:a16="http://schemas.microsoft.com/office/drawing/2014/main" id="{B3149FF4-90B6-49FF-ADAB-04FDE871A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71418" y="4757243"/>
              <a:ext cx="1403686" cy="14036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5481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69BBED-150A-47F5-8F0D-16FD9FC1AF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577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69BBED-150A-47F5-8F0D-16FD9FC1A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E8EEA1D4-065C-40A5-95F5-687EE246F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419296"/>
            <a:ext cx="7632876" cy="430918"/>
          </a:xfrm>
        </p:spPr>
        <p:txBody>
          <a:bodyPr vert="horz"/>
          <a:lstStyle/>
          <a:p>
            <a:r>
              <a:rPr lang="es-ES" sz="2800" dirty="0"/>
              <a:t>Technical </a:t>
            </a:r>
            <a:r>
              <a:rPr lang="es-ES" sz="2800" dirty="0" err="1"/>
              <a:t>Roadmap</a:t>
            </a:r>
            <a:r>
              <a:rPr lang="es-ES" sz="2800" dirty="0"/>
              <a:t> 2022 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B84C619-B07B-4154-BDBA-A25947B22915}"/>
              </a:ext>
            </a:extLst>
          </p:cNvPr>
          <p:cNvCxnSpPr/>
          <p:nvPr/>
        </p:nvCxnSpPr>
        <p:spPr>
          <a:xfrm>
            <a:off x="621792" y="932688"/>
            <a:ext cx="110888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utoShape 10">
            <a:extLst>
              <a:ext uri="{FF2B5EF4-FFF2-40B4-BE49-F238E27FC236}">
                <a16:creationId xmlns:a16="http://schemas.microsoft.com/office/drawing/2014/main" id="{608B5363-6065-4839-9FB3-628C219AF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5010" y="1029187"/>
            <a:ext cx="2670540" cy="648000"/>
          </a:xfrm>
          <a:prstGeom prst="homePlate">
            <a:avLst>
              <a:gd name="adj" fmla="val 23657"/>
            </a:avLst>
          </a:prstGeom>
          <a:solidFill>
            <a:schemeClr val="accent4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Santander Text"/>
              </a:rPr>
              <a:t>         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Low Priority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 requested TTR befor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Q2 2023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6" name="AutoShape 11">
            <a:extLst>
              <a:ext uri="{FF2B5EF4-FFF2-40B4-BE49-F238E27FC236}">
                <a16:creationId xmlns:a16="http://schemas.microsoft.com/office/drawing/2014/main" id="{9D40C6C6-B427-4B90-9EE2-DF7B8A862C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3938" y="1033111"/>
            <a:ext cx="2670540" cy="648000"/>
          </a:xfrm>
          <a:prstGeom prst="homePlate">
            <a:avLst>
              <a:gd name="adj" fmla="val 2367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Santander Text"/>
              </a:rPr>
              <a:t>       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edium Priority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 requested TTR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 before Q1 2023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7" name="AutoShape 12">
            <a:extLst>
              <a:ext uri="{FF2B5EF4-FFF2-40B4-BE49-F238E27FC236}">
                <a16:creationId xmlns:a16="http://schemas.microsoft.com/office/drawing/2014/main" id="{D0DA8ED4-4734-41D9-931C-91B2BFB21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2865" y="1029187"/>
            <a:ext cx="2670540" cy="648000"/>
          </a:xfrm>
          <a:prstGeom prst="homePlate">
            <a:avLst>
              <a:gd name="adj" fmla="val 23041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High Priority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quested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TR: 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900" b="1" dirty="0" err="1">
                <a:solidFill>
                  <a:prstClr val="black"/>
                </a:solidFill>
                <a:latin typeface="Santander Text"/>
              </a:rPr>
              <a:t>September</a:t>
            </a:r>
            <a:r>
              <a:rPr lang="es-ES" sz="900" b="1" dirty="0">
                <a:solidFill>
                  <a:prstClr val="black"/>
                </a:solidFill>
                <a:latin typeface="Santander Text"/>
              </a:rPr>
              <a:t>’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2      , </a:t>
            </a:r>
            <a:r>
              <a:rPr kumimoji="0" lang="es-E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cember</a:t>
            </a:r>
            <a:r>
              <a:rPr lang="es-ES" sz="900" b="1" dirty="0">
                <a:solidFill>
                  <a:prstClr val="black"/>
                </a:solidFill>
                <a:latin typeface="Santander Text"/>
              </a:rPr>
              <a:t>’22   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8" name="AutoShape 13">
            <a:extLst>
              <a:ext uri="{FF2B5EF4-FFF2-40B4-BE49-F238E27FC236}">
                <a16:creationId xmlns:a16="http://schemas.microsoft.com/office/drawing/2014/main" id="{4D8A1921-F36B-4864-852C-26EE5EB83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792" y="1029187"/>
            <a:ext cx="2670540" cy="648000"/>
          </a:xfrm>
          <a:prstGeom prst="homePlate">
            <a:avLst>
              <a:gd name="adj" fmla="val 22997"/>
            </a:avLst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oadma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65492A-DD6C-4BB3-8C62-C721DC818FF3}"/>
              </a:ext>
            </a:extLst>
          </p:cNvPr>
          <p:cNvSpPr txBox="1"/>
          <p:nvPr/>
        </p:nvSpPr>
        <p:spPr>
          <a:xfrm>
            <a:off x="2848853" y="6509531"/>
            <a:ext cx="3367671" cy="19071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*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able extracted from the roadmap shared with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hetaRay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731792" y="1728131"/>
            <a:ext cx="2670540" cy="4488111"/>
          </a:xfrm>
          <a:prstGeom prst="rect">
            <a:avLst/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0" name="Rectángulo 49"/>
          <p:cNvSpPr/>
          <p:nvPr/>
        </p:nvSpPr>
        <p:spPr>
          <a:xfrm>
            <a:off x="731792" y="1728132"/>
            <a:ext cx="2670540" cy="50194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1" name="Rectángulo 50"/>
          <p:cNvSpPr/>
          <p:nvPr/>
        </p:nvSpPr>
        <p:spPr>
          <a:xfrm>
            <a:off x="3472865" y="1728131"/>
            <a:ext cx="2670540" cy="4488111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2" name="Rectángulo 51"/>
          <p:cNvSpPr/>
          <p:nvPr/>
        </p:nvSpPr>
        <p:spPr>
          <a:xfrm>
            <a:off x="3472865" y="1728132"/>
            <a:ext cx="2670540" cy="5019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3" name="Rectángulo 52"/>
          <p:cNvSpPr/>
          <p:nvPr/>
        </p:nvSpPr>
        <p:spPr>
          <a:xfrm>
            <a:off x="6213938" y="1728131"/>
            <a:ext cx="2670540" cy="4488111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4" name="Rectángulo 53"/>
          <p:cNvSpPr/>
          <p:nvPr/>
        </p:nvSpPr>
        <p:spPr>
          <a:xfrm>
            <a:off x="6213938" y="1728132"/>
            <a:ext cx="2670540" cy="50194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8955011" y="1728131"/>
            <a:ext cx="2670540" cy="4488111"/>
          </a:xfrm>
          <a:prstGeom prst="rect">
            <a:avLst/>
          </a:prstGeom>
          <a:solidFill>
            <a:schemeClr val="accent4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6" name="Rectángulo 55"/>
          <p:cNvSpPr/>
          <p:nvPr/>
        </p:nvSpPr>
        <p:spPr>
          <a:xfrm>
            <a:off x="8955011" y="1728132"/>
            <a:ext cx="2670540" cy="5019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771787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2351741" y="1839848"/>
            <a:ext cx="1043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alese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Date</a:t>
            </a:r>
          </a:p>
        </p:txBody>
      </p:sp>
      <p:sp>
        <p:nvSpPr>
          <p:cNvPr id="58" name="CuadroTexto 57"/>
          <p:cNvSpPr txBox="1"/>
          <p:nvPr/>
        </p:nvSpPr>
        <p:spPr>
          <a:xfrm>
            <a:off x="3524777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5387857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6266936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8130016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9003148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3" name="CuadroTexto 62"/>
          <p:cNvSpPr txBox="1"/>
          <p:nvPr/>
        </p:nvSpPr>
        <p:spPr>
          <a:xfrm>
            <a:off x="10866228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687896" y="2410112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dirty="0">
                <a:solidFill>
                  <a:srgbClr val="000000"/>
                </a:solidFill>
              </a:rPr>
              <a:t>Multi Availability Zones</a:t>
            </a:r>
          </a:p>
        </p:txBody>
      </p:sp>
      <p:sp>
        <p:nvSpPr>
          <p:cNvPr id="65" name="CuadroTexto 64"/>
          <p:cNvSpPr txBox="1"/>
          <p:nvPr/>
        </p:nvSpPr>
        <p:spPr>
          <a:xfrm>
            <a:off x="2376633" y="2401870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1200" dirty="0"/>
              <a:t>Q3 2022</a:t>
            </a:r>
          </a:p>
        </p:txBody>
      </p:sp>
      <p:sp>
        <p:nvSpPr>
          <p:cNvPr id="66" name="CuadroTexto 65"/>
          <p:cNvSpPr txBox="1"/>
          <p:nvPr/>
        </p:nvSpPr>
        <p:spPr>
          <a:xfrm>
            <a:off x="687896" y="2751544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rtl="0">
              <a:buFont typeface="Wingdings" panose="05000000000000000000" pitchFamily="2" charset="2"/>
              <a:buChar char="Ø"/>
            </a:pPr>
            <a:r>
              <a:rPr lang="en-US" sz="1200" dirty="0"/>
              <a:t>Archiving &amp; Purging</a:t>
            </a:r>
          </a:p>
        </p:txBody>
      </p:sp>
      <p:sp>
        <p:nvSpPr>
          <p:cNvPr id="67" name="CuadroTexto 66"/>
          <p:cNvSpPr txBox="1"/>
          <p:nvPr/>
        </p:nvSpPr>
        <p:spPr>
          <a:xfrm>
            <a:off x="2351741" y="2751544"/>
            <a:ext cx="10713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/>
              <a:t>December’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8" name="CuadroTexto 77"/>
          <p:cNvSpPr txBox="1"/>
          <p:nvPr/>
        </p:nvSpPr>
        <p:spPr>
          <a:xfrm>
            <a:off x="3449275" y="2255889"/>
            <a:ext cx="19382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b="1" dirty="0">
                <a:solidFill>
                  <a:srgbClr val="000000"/>
                </a:solidFill>
              </a:rPr>
              <a:t>Multi tenancy      (Postgres/MinIO)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9" name="CuadroTexto 78"/>
          <p:cNvSpPr txBox="1"/>
          <p:nvPr/>
        </p:nvSpPr>
        <p:spPr>
          <a:xfrm>
            <a:off x="5442835" y="2255889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436238" y="2698872"/>
            <a:ext cx="1895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b="1" dirty="0">
                <a:effectLst/>
              </a:rPr>
              <a:t>Data </a:t>
            </a:r>
            <a:r>
              <a:rPr lang="en-US" sz="1200" b="1" noProof="0" dirty="0">
                <a:effectLst/>
              </a:rPr>
              <a:t>temperature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1" name="CuadroTexto 80"/>
          <p:cNvSpPr txBox="1"/>
          <p:nvPr/>
        </p:nvSpPr>
        <p:spPr>
          <a:xfrm>
            <a:off x="5442835" y="2560918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latin typeface="Santander Text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2" name="CuadroTexto 81"/>
          <p:cNvSpPr txBox="1"/>
          <p:nvPr/>
        </p:nvSpPr>
        <p:spPr>
          <a:xfrm>
            <a:off x="3449275" y="2803796"/>
            <a:ext cx="1938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b="1" dirty="0">
                <a:solidFill>
                  <a:srgbClr val="000000"/>
                </a:solidFill>
              </a:rPr>
              <a:t>Simulation (</a:t>
            </a:r>
            <a:r>
              <a:rPr lang="en-US" sz="1200" b="1" noProof="0" dirty="0">
                <a:solidFill>
                  <a:srgbClr val="000000"/>
                </a:solidFill>
              </a:rPr>
              <a:t>ephemeral</a:t>
            </a:r>
            <a:r>
              <a:rPr lang="en-US" sz="1200" b="1" dirty="0">
                <a:solidFill>
                  <a:srgbClr val="000000"/>
                </a:solidFill>
              </a:rPr>
              <a:t>   environments)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3" name="CuadroTexto 82"/>
          <p:cNvSpPr txBox="1"/>
          <p:nvPr/>
        </p:nvSpPr>
        <p:spPr>
          <a:xfrm>
            <a:off x="5442835" y="2837372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4" name="CuadroTexto 83"/>
          <p:cNvSpPr txBox="1"/>
          <p:nvPr/>
        </p:nvSpPr>
        <p:spPr>
          <a:xfrm>
            <a:off x="3449275" y="3346678"/>
            <a:ext cx="19382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b="1" dirty="0">
                <a:solidFill>
                  <a:srgbClr val="000000"/>
                </a:solidFill>
              </a:rPr>
              <a:t>Data-at-rest encryption (</a:t>
            </a:r>
            <a:r>
              <a:rPr lang="en-AU" sz="1200" b="1" noProof="0" dirty="0">
                <a:solidFill>
                  <a:srgbClr val="000000"/>
                </a:solidFill>
              </a:rPr>
              <a:t>application</a:t>
            </a:r>
            <a:r>
              <a:rPr lang="en-US" sz="1200" b="1" dirty="0">
                <a:solidFill>
                  <a:srgbClr val="000000"/>
                </a:solidFill>
              </a:rPr>
              <a:t> level)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5" name="CuadroTexto 84"/>
          <p:cNvSpPr txBox="1"/>
          <p:nvPr/>
        </p:nvSpPr>
        <p:spPr>
          <a:xfrm>
            <a:off x="5442835" y="3346678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06" name="CuadroTexto 105"/>
          <p:cNvSpPr txBox="1"/>
          <p:nvPr/>
        </p:nvSpPr>
        <p:spPr>
          <a:xfrm>
            <a:off x="6240302" y="2263316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s-ES" sz="1200" b="1" dirty="0"/>
              <a:t>Logs </a:t>
            </a:r>
            <a:r>
              <a:rPr lang="en-AU" sz="1200" b="1" noProof="0" dirty="0"/>
              <a:t>observability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07" name="CuadroTexto 106"/>
          <p:cNvSpPr txBox="1"/>
          <p:nvPr/>
        </p:nvSpPr>
        <p:spPr>
          <a:xfrm>
            <a:off x="8158056" y="2263316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latin typeface="Santander Text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40" name="CuadroTexto 139"/>
          <p:cNvSpPr txBox="1"/>
          <p:nvPr/>
        </p:nvSpPr>
        <p:spPr>
          <a:xfrm>
            <a:off x="9025543" y="2263315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200" b="1" noProof="0" dirty="0"/>
              <a:t> Integration</a:t>
            </a:r>
            <a:r>
              <a:rPr lang="en-US" sz="1200" b="1" dirty="0"/>
              <a:t> of Nexus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41" name="CuadroTexto 140"/>
          <p:cNvSpPr txBox="1"/>
          <p:nvPr/>
        </p:nvSpPr>
        <p:spPr>
          <a:xfrm>
            <a:off x="10733895" y="2230073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latin typeface="Santander Text"/>
              </a:rPr>
              <a:t>CTO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FC32F7-3AC7-4E51-9887-9CB4B0C61C58}"/>
              </a:ext>
            </a:extLst>
          </p:cNvPr>
          <p:cNvSpPr/>
          <p:nvPr/>
        </p:nvSpPr>
        <p:spPr>
          <a:xfrm>
            <a:off x="3428141" y="2310989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BC6864A-5250-4BF9-88F9-A615D9C7A778}"/>
              </a:ext>
            </a:extLst>
          </p:cNvPr>
          <p:cNvSpPr/>
          <p:nvPr/>
        </p:nvSpPr>
        <p:spPr>
          <a:xfrm>
            <a:off x="3436107" y="3411620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E78796C-D642-4FE4-89B2-C545759AF8CE}"/>
              </a:ext>
            </a:extLst>
          </p:cNvPr>
          <p:cNvSpPr/>
          <p:nvPr/>
        </p:nvSpPr>
        <p:spPr>
          <a:xfrm>
            <a:off x="3435043" y="3049951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006B7CE-1C98-451E-A129-53E64F7F5708}"/>
              </a:ext>
            </a:extLst>
          </p:cNvPr>
          <p:cNvSpPr/>
          <p:nvPr/>
        </p:nvSpPr>
        <p:spPr>
          <a:xfrm>
            <a:off x="3428141" y="2748575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26A8CE1-A828-441B-B814-A31548FE65E8}"/>
              </a:ext>
            </a:extLst>
          </p:cNvPr>
          <p:cNvSpPr/>
          <p:nvPr/>
        </p:nvSpPr>
        <p:spPr>
          <a:xfrm>
            <a:off x="4676203" y="1454313"/>
            <a:ext cx="111384" cy="1034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B13FA36B-6041-4DCA-BA3F-7DA7FC5A0CC5}"/>
              </a:ext>
            </a:extLst>
          </p:cNvPr>
          <p:cNvSpPr/>
          <p:nvPr/>
        </p:nvSpPr>
        <p:spPr>
          <a:xfrm>
            <a:off x="7368043" y="6525998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n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884DAE8-E4EB-43E8-9692-9529EDBD2AF5}"/>
              </a:ext>
            </a:extLst>
          </p:cNvPr>
          <p:cNvSpPr txBox="1"/>
          <p:nvPr/>
        </p:nvSpPr>
        <p:spPr>
          <a:xfrm>
            <a:off x="7591327" y="6494866"/>
            <a:ext cx="916662" cy="253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Priority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rder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55E90DA-8B22-4B71-A2BD-50D13669D7C2}"/>
              </a:ext>
            </a:extLst>
          </p:cNvPr>
          <p:cNvSpPr/>
          <p:nvPr/>
        </p:nvSpPr>
        <p:spPr>
          <a:xfrm>
            <a:off x="5442835" y="1459918"/>
            <a:ext cx="111384" cy="1034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346DD20-6CBD-47B1-BF8D-1D2B11544090}"/>
              </a:ext>
            </a:extLst>
          </p:cNvPr>
          <p:cNvSpPr/>
          <p:nvPr/>
        </p:nvSpPr>
        <p:spPr>
          <a:xfrm>
            <a:off x="6240302" y="2310987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3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69BEAA47-17A3-48B2-8C64-6DBD11DAA782}"/>
              </a:ext>
            </a:extLst>
          </p:cNvPr>
          <p:cNvSpPr/>
          <p:nvPr/>
        </p:nvSpPr>
        <p:spPr>
          <a:xfrm>
            <a:off x="9051469" y="2310987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142303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69BBED-150A-47F5-8F0D-16FD9FC1AF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03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69BBED-150A-47F5-8F0D-16FD9FC1A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E8EEA1D4-065C-40A5-95F5-687EE246F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24" y="419296"/>
            <a:ext cx="7632876" cy="430918"/>
          </a:xfrm>
        </p:spPr>
        <p:txBody>
          <a:bodyPr vert="horz"/>
          <a:lstStyle/>
          <a:p>
            <a:r>
              <a:rPr lang="es-ES" sz="2800" err="1"/>
              <a:t>Functional</a:t>
            </a:r>
            <a:r>
              <a:rPr lang="es-ES" sz="2800"/>
              <a:t> </a:t>
            </a:r>
            <a:r>
              <a:rPr lang="es-ES" sz="2800" err="1"/>
              <a:t>Roadmap</a:t>
            </a:r>
            <a:r>
              <a:rPr lang="es-ES" sz="2800"/>
              <a:t> 2022 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B84C619-B07B-4154-BDBA-A25947B22915}"/>
              </a:ext>
            </a:extLst>
          </p:cNvPr>
          <p:cNvCxnSpPr/>
          <p:nvPr/>
        </p:nvCxnSpPr>
        <p:spPr>
          <a:xfrm>
            <a:off x="621792" y="932688"/>
            <a:ext cx="110888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utoShape 10">
            <a:extLst>
              <a:ext uri="{FF2B5EF4-FFF2-40B4-BE49-F238E27FC236}">
                <a16:creationId xmlns:a16="http://schemas.microsoft.com/office/drawing/2014/main" id="{608B5363-6065-4839-9FB3-628C219AFD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5010" y="1029187"/>
            <a:ext cx="2670540" cy="648000"/>
          </a:xfrm>
          <a:prstGeom prst="homePlate">
            <a:avLst>
              <a:gd name="adj" fmla="val 23657"/>
            </a:avLst>
          </a:prstGeom>
          <a:solidFill>
            <a:schemeClr val="accent4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              Low Priority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s-E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quested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TR </a:t>
            </a:r>
            <a:r>
              <a:rPr kumimoji="0" lang="es-E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before</a:t>
            </a:r>
            <a:r>
              <a:rPr kumimoji="0" lang="es-E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Q3 2023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6" name="AutoShape 11">
            <a:extLst>
              <a:ext uri="{FF2B5EF4-FFF2-40B4-BE49-F238E27FC236}">
                <a16:creationId xmlns:a16="http://schemas.microsoft.com/office/drawing/2014/main" id="{9D40C6C6-B427-4B90-9EE2-DF7B8A862C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3938" y="1033111"/>
            <a:ext cx="2670540" cy="648000"/>
          </a:xfrm>
          <a:prstGeom prst="homePlate">
            <a:avLst>
              <a:gd name="adj" fmla="val 2367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         Medium Priority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s-ES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</a:t>
            </a: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quested</a:t>
            </a: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TR </a:t>
            </a:r>
            <a:r>
              <a:rPr kumimoji="0" lang="es-ES" sz="9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before</a:t>
            </a: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Q2 2023</a:t>
            </a: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)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7" name="AutoShape 12">
            <a:extLst>
              <a:ext uri="{FF2B5EF4-FFF2-40B4-BE49-F238E27FC236}">
                <a16:creationId xmlns:a16="http://schemas.microsoft.com/office/drawing/2014/main" id="{D0DA8ED4-4734-41D9-931C-91B2BFB21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2865" y="1029187"/>
            <a:ext cx="2670540" cy="648000"/>
          </a:xfrm>
          <a:prstGeom prst="homePlate">
            <a:avLst>
              <a:gd name="adj" fmla="val 23041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High Priority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(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livery</a:t>
            </a: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quested</a:t>
            </a: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TR: 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August’22      , October’22     ,  December’22     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8" name="AutoShape 13">
            <a:extLst>
              <a:ext uri="{FF2B5EF4-FFF2-40B4-BE49-F238E27FC236}">
                <a16:creationId xmlns:a16="http://schemas.microsoft.com/office/drawing/2014/main" id="{4D8A1921-F36B-4864-852C-26EE5EB83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792" y="1029187"/>
            <a:ext cx="2670540" cy="648000"/>
          </a:xfrm>
          <a:prstGeom prst="homePlate">
            <a:avLst>
              <a:gd name="adj" fmla="val 22997"/>
            </a:avLst>
          </a:prstGeom>
          <a:solidFill>
            <a:schemeClr val="bg1">
              <a:lumMod val="50000"/>
            </a:schemeClr>
          </a:solidFill>
          <a:ln w="6350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oadma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65492A-DD6C-4BB3-8C62-C721DC818FF3}"/>
              </a:ext>
            </a:extLst>
          </p:cNvPr>
          <p:cNvSpPr txBox="1"/>
          <p:nvPr/>
        </p:nvSpPr>
        <p:spPr>
          <a:xfrm>
            <a:off x="2848853" y="6509531"/>
            <a:ext cx="3367671" cy="19071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*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able extracted from the roadmap shared with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hetaRay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69076A9-879A-4963-B6B2-99681A0B2F95}"/>
              </a:ext>
            </a:extLst>
          </p:cNvPr>
          <p:cNvGrpSpPr/>
          <p:nvPr/>
        </p:nvGrpSpPr>
        <p:grpSpPr>
          <a:xfrm>
            <a:off x="6316161" y="6475551"/>
            <a:ext cx="977901" cy="254000"/>
            <a:chOff x="8278544" y="6404724"/>
            <a:chExt cx="977901" cy="254000"/>
          </a:xfrm>
        </p:grpSpPr>
        <p:pic>
          <p:nvPicPr>
            <p:cNvPr id="32" name="Graphic 31" descr="No sign with solid fill">
              <a:extLst>
                <a:ext uri="{FF2B5EF4-FFF2-40B4-BE49-F238E27FC236}">
                  <a16:creationId xmlns:a16="http://schemas.microsoft.com/office/drawing/2014/main" id="{CFD589E9-4F14-45DA-8814-3E98FA3CB0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278544" y="6404724"/>
              <a:ext cx="254000" cy="254000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060343-39F3-4616-ADCD-8E4992C7FA63}"/>
                </a:ext>
              </a:extLst>
            </p:cNvPr>
            <p:cNvSpPr txBox="1"/>
            <p:nvPr/>
          </p:nvSpPr>
          <p:spPr>
            <a:xfrm>
              <a:off x="8464257" y="6421714"/>
              <a:ext cx="792188" cy="22002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antander Text"/>
                  <a:ea typeface="+mn-ea"/>
                  <a:cs typeface="+mn-cs"/>
                </a:rPr>
                <a:t>Stopper</a:t>
              </a:r>
              <a:endPara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endParaRPr>
            </a:p>
          </p:txBody>
        </p:sp>
      </p:grpSp>
      <p:sp>
        <p:nvSpPr>
          <p:cNvPr id="11" name="Rectángulo 10"/>
          <p:cNvSpPr/>
          <p:nvPr/>
        </p:nvSpPr>
        <p:spPr>
          <a:xfrm>
            <a:off x="731792" y="1728131"/>
            <a:ext cx="2670540" cy="4488111"/>
          </a:xfrm>
          <a:prstGeom prst="rect">
            <a:avLst/>
          </a:prstGeom>
          <a:solidFill>
            <a:schemeClr val="bg1">
              <a:lumMod val="85000"/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0" name="Rectángulo 49"/>
          <p:cNvSpPr/>
          <p:nvPr/>
        </p:nvSpPr>
        <p:spPr>
          <a:xfrm>
            <a:off x="731792" y="1728132"/>
            <a:ext cx="2670540" cy="50194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1" name="Rectángulo 50"/>
          <p:cNvSpPr/>
          <p:nvPr/>
        </p:nvSpPr>
        <p:spPr>
          <a:xfrm>
            <a:off x="3472865" y="1728131"/>
            <a:ext cx="2670540" cy="4488111"/>
          </a:xfrm>
          <a:prstGeom prst="rect">
            <a:avLst/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2" name="Rectángulo 51"/>
          <p:cNvSpPr/>
          <p:nvPr/>
        </p:nvSpPr>
        <p:spPr>
          <a:xfrm>
            <a:off x="3472865" y="1728132"/>
            <a:ext cx="2670540" cy="5019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3" name="Rectángulo 52"/>
          <p:cNvSpPr/>
          <p:nvPr/>
        </p:nvSpPr>
        <p:spPr>
          <a:xfrm>
            <a:off x="6213938" y="1728131"/>
            <a:ext cx="2670540" cy="4488111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4" name="Rectángulo 53"/>
          <p:cNvSpPr/>
          <p:nvPr/>
        </p:nvSpPr>
        <p:spPr>
          <a:xfrm>
            <a:off x="6213938" y="1728132"/>
            <a:ext cx="2670540" cy="50194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8955011" y="1728131"/>
            <a:ext cx="2670540" cy="4488111"/>
          </a:xfrm>
          <a:prstGeom prst="rect">
            <a:avLst/>
          </a:prstGeom>
          <a:solidFill>
            <a:schemeClr val="accent4">
              <a:lumMod val="40000"/>
              <a:lumOff val="6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6" name="Rectángulo 55"/>
          <p:cNvSpPr/>
          <p:nvPr/>
        </p:nvSpPr>
        <p:spPr>
          <a:xfrm>
            <a:off x="8955011" y="1728132"/>
            <a:ext cx="2670540" cy="5019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771787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2351741" y="1839848"/>
            <a:ext cx="1043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alese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Date</a:t>
            </a:r>
          </a:p>
        </p:txBody>
      </p:sp>
      <p:sp>
        <p:nvSpPr>
          <p:cNvPr id="58" name="CuadroTexto 57"/>
          <p:cNvSpPr txBox="1"/>
          <p:nvPr/>
        </p:nvSpPr>
        <p:spPr>
          <a:xfrm>
            <a:off x="3524777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5387857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6266936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8130016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9003148" y="1839848"/>
            <a:ext cx="796954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tems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3" name="CuadroTexto 62"/>
          <p:cNvSpPr txBox="1"/>
          <p:nvPr/>
        </p:nvSpPr>
        <p:spPr>
          <a:xfrm>
            <a:off x="10866228" y="1839848"/>
            <a:ext cx="652217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wner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687896" y="2430660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perational dashboard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5" name="CuadroTexto 64"/>
          <p:cNvSpPr txBox="1"/>
          <p:nvPr/>
        </p:nvSpPr>
        <p:spPr>
          <a:xfrm>
            <a:off x="2626116" y="2430660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y’22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6" name="CuadroTexto 65"/>
          <p:cNvSpPr txBox="1"/>
          <p:nvPr/>
        </p:nvSpPr>
        <p:spPr>
          <a:xfrm>
            <a:off x="687896" y="2772092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Activiti capabiliti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2626116" y="2772092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y’22 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8" name="CuadroTexto 67"/>
          <p:cNvSpPr txBox="1"/>
          <p:nvPr/>
        </p:nvSpPr>
        <p:spPr>
          <a:xfrm>
            <a:off x="687896" y="3113524"/>
            <a:ext cx="19382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elf-service rules editor UI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69" name="CuadroTexto 68"/>
          <p:cNvSpPr txBox="1"/>
          <p:nvPr/>
        </p:nvSpPr>
        <p:spPr>
          <a:xfrm>
            <a:off x="2626116" y="3113524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June’22 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0" name="CuadroTexto 69"/>
          <p:cNvSpPr txBox="1"/>
          <p:nvPr/>
        </p:nvSpPr>
        <p:spPr>
          <a:xfrm>
            <a:off x="687896" y="3518753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Network visualization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1" name="CuadroTexto 70"/>
          <p:cNvSpPr txBox="1"/>
          <p:nvPr/>
        </p:nvSpPr>
        <p:spPr>
          <a:xfrm>
            <a:off x="2626116" y="3518753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June’22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2" name="CuadroTexto 71"/>
          <p:cNvSpPr txBox="1"/>
          <p:nvPr/>
        </p:nvSpPr>
        <p:spPr>
          <a:xfrm>
            <a:off x="687896" y="3860185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nual alerts UI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3" name="CuadroTexto 72"/>
          <p:cNvSpPr txBox="1"/>
          <p:nvPr/>
        </p:nvSpPr>
        <p:spPr>
          <a:xfrm>
            <a:off x="2626116" y="3860185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June’22 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4" name="CuadroTexto 73"/>
          <p:cNvSpPr txBox="1"/>
          <p:nvPr/>
        </p:nvSpPr>
        <p:spPr>
          <a:xfrm>
            <a:off x="687896" y="4201618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Network analysi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5" name="CuadroTexto 74"/>
          <p:cNvSpPr txBox="1"/>
          <p:nvPr/>
        </p:nvSpPr>
        <p:spPr>
          <a:xfrm>
            <a:off x="2626116" y="4201618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Q4 2022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689294" y="4530187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Business insight dashboard (CB)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7" name="CuadroTexto 76"/>
          <p:cNvSpPr txBox="1"/>
          <p:nvPr/>
        </p:nvSpPr>
        <p:spPr>
          <a:xfrm>
            <a:off x="2627514" y="4530187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BD</a:t>
            </a:r>
          </a:p>
        </p:txBody>
      </p:sp>
      <p:sp>
        <p:nvSpPr>
          <p:cNvPr id="78" name="CuadroTexto 77"/>
          <p:cNvSpPr txBox="1"/>
          <p:nvPr/>
        </p:nvSpPr>
        <p:spPr>
          <a:xfrm>
            <a:off x="3449275" y="2255889"/>
            <a:ext cx="19382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Workflow -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ove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alert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79" name="CuadroTexto 78"/>
          <p:cNvSpPr txBox="1"/>
          <p:nvPr/>
        </p:nvSpPr>
        <p:spPr>
          <a:xfrm>
            <a:off x="5442835" y="2255889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449275" y="2544130"/>
            <a:ext cx="1895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Workflow – QA review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1" name="CuadroTexto 80"/>
          <p:cNvSpPr txBox="1"/>
          <p:nvPr/>
        </p:nvSpPr>
        <p:spPr>
          <a:xfrm>
            <a:off x="5442835" y="2560918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2" name="CuadroTexto 81"/>
          <p:cNvSpPr txBox="1"/>
          <p:nvPr/>
        </p:nvSpPr>
        <p:spPr>
          <a:xfrm>
            <a:off x="3449275" y="2803796"/>
            <a:ext cx="1938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Users – Analyst view all note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and only edit those assigned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3" name="CuadroTexto 82"/>
          <p:cNvSpPr txBox="1"/>
          <p:nvPr/>
        </p:nvSpPr>
        <p:spPr>
          <a:xfrm>
            <a:off x="5442835" y="2837372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4" name="CuadroTexto 83"/>
          <p:cNvSpPr txBox="1"/>
          <p:nvPr/>
        </p:nvSpPr>
        <p:spPr>
          <a:xfrm>
            <a:off x="3449275" y="3346678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LA – Filter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5" name="CuadroTexto 84"/>
          <p:cNvSpPr txBox="1"/>
          <p:nvPr/>
        </p:nvSpPr>
        <p:spPr>
          <a:xfrm>
            <a:off x="5442835" y="3346678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6" name="CuadroTexto 85"/>
          <p:cNvSpPr txBox="1"/>
          <p:nvPr/>
        </p:nvSpPr>
        <p:spPr>
          <a:xfrm>
            <a:off x="3449275" y="3592974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LA – Work queue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7" name="CuadroTexto 86"/>
          <p:cNvSpPr txBox="1"/>
          <p:nvPr/>
        </p:nvSpPr>
        <p:spPr>
          <a:xfrm>
            <a:off x="5442835" y="3592974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8" name="CuadroTexto 87"/>
          <p:cNvSpPr txBox="1"/>
          <p:nvPr/>
        </p:nvSpPr>
        <p:spPr>
          <a:xfrm>
            <a:off x="3449275" y="4190559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pecific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asons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for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each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form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89" name="CuadroTexto 88"/>
          <p:cNvSpPr txBox="1"/>
          <p:nvPr/>
        </p:nvSpPr>
        <p:spPr>
          <a:xfrm>
            <a:off x="5442835" y="4274499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</a:p>
        </p:txBody>
      </p:sp>
      <p:sp>
        <p:nvSpPr>
          <p:cNvPr id="90" name="CuadroTexto 89"/>
          <p:cNvSpPr txBox="1"/>
          <p:nvPr/>
        </p:nvSpPr>
        <p:spPr>
          <a:xfrm>
            <a:off x="3450673" y="4638191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Automation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of status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hange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91" name="CuadroTexto 90"/>
          <p:cNvSpPr txBox="1"/>
          <p:nvPr/>
        </p:nvSpPr>
        <p:spPr>
          <a:xfrm>
            <a:off x="5444233" y="4738919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</a:p>
        </p:txBody>
      </p:sp>
      <p:sp>
        <p:nvSpPr>
          <p:cNvPr id="92" name="CuadroTexto 91"/>
          <p:cNvSpPr txBox="1"/>
          <p:nvPr/>
        </p:nvSpPr>
        <p:spPr>
          <a:xfrm>
            <a:off x="3450673" y="5085893"/>
            <a:ext cx="19368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Notes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ndatory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93" name="CuadroTexto 92"/>
          <p:cNvSpPr txBox="1"/>
          <p:nvPr/>
        </p:nvSpPr>
        <p:spPr>
          <a:xfrm>
            <a:off x="5444233" y="5085893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94" name="CuadroTexto 93"/>
          <p:cNvSpPr txBox="1"/>
          <p:nvPr/>
        </p:nvSpPr>
        <p:spPr>
          <a:xfrm>
            <a:off x="3450673" y="5322150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WHAT-IF</a:t>
            </a:r>
          </a:p>
        </p:txBody>
      </p:sp>
      <p:sp>
        <p:nvSpPr>
          <p:cNvPr id="95" name="CuadroTexto 94"/>
          <p:cNvSpPr txBox="1"/>
          <p:nvPr/>
        </p:nvSpPr>
        <p:spPr>
          <a:xfrm>
            <a:off x="5444233" y="5322150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CC</a:t>
            </a:r>
          </a:p>
        </p:txBody>
      </p:sp>
      <p:sp>
        <p:nvSpPr>
          <p:cNvPr id="96" name="CuadroTexto 95"/>
          <p:cNvSpPr txBox="1"/>
          <p:nvPr/>
        </p:nvSpPr>
        <p:spPr>
          <a:xfrm>
            <a:off x="3450673" y="5560067"/>
            <a:ext cx="19382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odel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tatistical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nf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97" name="CuadroTexto 96"/>
          <p:cNvSpPr txBox="1"/>
          <p:nvPr/>
        </p:nvSpPr>
        <p:spPr>
          <a:xfrm>
            <a:off x="5444233" y="5560067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CC</a:t>
            </a:r>
          </a:p>
        </p:txBody>
      </p:sp>
      <p:sp>
        <p:nvSpPr>
          <p:cNvPr id="98" name="CuadroTexto 97"/>
          <p:cNvSpPr txBox="1"/>
          <p:nvPr/>
        </p:nvSpPr>
        <p:spPr>
          <a:xfrm>
            <a:off x="3450673" y="5839929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C related alerts cross search (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ultianalysi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)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99" name="CuadroTexto 98"/>
          <p:cNvSpPr txBox="1"/>
          <p:nvPr/>
        </p:nvSpPr>
        <p:spPr>
          <a:xfrm>
            <a:off x="5444233" y="5911488"/>
            <a:ext cx="5352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CC</a:t>
            </a:r>
          </a:p>
        </p:txBody>
      </p:sp>
      <p:pic>
        <p:nvPicPr>
          <p:cNvPr id="103" name="Graphic 31" descr="No sign with solid fill">
            <a:extLst>
              <a:ext uri="{FF2B5EF4-FFF2-40B4-BE49-F238E27FC236}">
                <a16:creationId xmlns:a16="http://schemas.microsoft.com/office/drawing/2014/main" id="{CFD589E9-4F14-45DA-8814-3E98FA3CB0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12687" y="2294481"/>
            <a:ext cx="180000" cy="180000"/>
          </a:xfrm>
          <a:prstGeom prst="rect">
            <a:avLst/>
          </a:prstGeom>
        </p:spPr>
      </p:pic>
      <p:sp>
        <p:nvSpPr>
          <p:cNvPr id="106" name="CuadroTexto 105"/>
          <p:cNvSpPr txBox="1"/>
          <p:nvPr/>
        </p:nvSpPr>
        <p:spPr>
          <a:xfrm>
            <a:off x="6175700" y="2238524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Workflow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- 4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Eyes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view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07" name="CuadroTexto 106"/>
          <p:cNvSpPr txBox="1"/>
          <p:nvPr/>
        </p:nvSpPr>
        <p:spPr>
          <a:xfrm>
            <a:off x="8147476" y="2238524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08" name="CuadroTexto 107"/>
          <p:cNvSpPr txBox="1"/>
          <p:nvPr/>
        </p:nvSpPr>
        <p:spPr>
          <a:xfrm>
            <a:off x="6175700" y="2579956"/>
            <a:ext cx="1909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Workflow – QC review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09" name="CuadroTexto 108"/>
          <p:cNvSpPr txBox="1"/>
          <p:nvPr/>
        </p:nvSpPr>
        <p:spPr>
          <a:xfrm>
            <a:off x="8147476" y="2579956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0" name="CuadroTexto 109"/>
          <p:cNvSpPr txBox="1"/>
          <p:nvPr/>
        </p:nvSpPr>
        <p:spPr>
          <a:xfrm>
            <a:off x="3447610" y="3843948"/>
            <a:ext cx="1971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LA – Awaiting info status (RFI)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1" name="CuadroTexto 110"/>
          <p:cNvSpPr txBox="1"/>
          <p:nvPr/>
        </p:nvSpPr>
        <p:spPr>
          <a:xfrm>
            <a:off x="5324143" y="3872013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2" name="CuadroTexto 111"/>
          <p:cNvSpPr txBox="1"/>
          <p:nvPr/>
        </p:nvSpPr>
        <p:spPr>
          <a:xfrm>
            <a:off x="6175700" y="2860236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ictionaries management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3" name="CuadroTexto 112"/>
          <p:cNvSpPr txBox="1"/>
          <p:nvPr/>
        </p:nvSpPr>
        <p:spPr>
          <a:xfrm>
            <a:off x="8147476" y="2860236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4" name="CuadroTexto 113"/>
          <p:cNvSpPr txBox="1"/>
          <p:nvPr/>
        </p:nvSpPr>
        <p:spPr>
          <a:xfrm>
            <a:off x="6175700" y="3201668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Integration with API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5" name="CuadroTexto 114"/>
          <p:cNvSpPr txBox="1"/>
          <p:nvPr/>
        </p:nvSpPr>
        <p:spPr>
          <a:xfrm>
            <a:off x="8147476" y="3201668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6" name="CuadroTexto 115"/>
          <p:cNvSpPr txBox="1"/>
          <p:nvPr/>
        </p:nvSpPr>
        <p:spPr>
          <a:xfrm>
            <a:off x="6175701" y="3526323"/>
            <a:ext cx="1737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User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onfiguration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templates</a:t>
            </a:r>
          </a:p>
        </p:txBody>
      </p:sp>
      <p:sp>
        <p:nvSpPr>
          <p:cNvPr id="117" name="CuadroTexto 116"/>
          <p:cNvSpPr txBox="1"/>
          <p:nvPr/>
        </p:nvSpPr>
        <p:spPr>
          <a:xfrm>
            <a:off x="8147476" y="3601824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18" name="CuadroTexto 117"/>
          <p:cNvSpPr txBox="1"/>
          <p:nvPr/>
        </p:nvSpPr>
        <p:spPr>
          <a:xfrm>
            <a:off x="6177098" y="4064617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ports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by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status and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reason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19" name="CuadroTexto 118"/>
          <p:cNvSpPr txBox="1"/>
          <p:nvPr/>
        </p:nvSpPr>
        <p:spPr>
          <a:xfrm>
            <a:off x="8148874" y="4064617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20" name="CuadroTexto 119"/>
          <p:cNvSpPr txBox="1"/>
          <p:nvPr/>
        </p:nvSpPr>
        <p:spPr>
          <a:xfrm>
            <a:off x="6178496" y="4519021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ransactional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ab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filter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1" name="CuadroTexto 120"/>
          <p:cNvSpPr txBox="1"/>
          <p:nvPr/>
        </p:nvSpPr>
        <p:spPr>
          <a:xfrm>
            <a:off x="8150272" y="4519021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22" name="CuadroTexto 121"/>
          <p:cNvSpPr txBox="1"/>
          <p:nvPr/>
        </p:nvSpPr>
        <p:spPr>
          <a:xfrm>
            <a:off x="8945468" y="3073928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ata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nagement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creen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3" name="CuadroTexto 122"/>
          <p:cNvSpPr txBox="1"/>
          <p:nvPr/>
        </p:nvSpPr>
        <p:spPr>
          <a:xfrm>
            <a:off x="10917244" y="3073928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C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4" name="CuadroTexto 123"/>
          <p:cNvSpPr txBox="1"/>
          <p:nvPr/>
        </p:nvSpPr>
        <p:spPr>
          <a:xfrm>
            <a:off x="8945467" y="3415360"/>
            <a:ext cx="22538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User – Massive alert closure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25" name="CuadroTexto 124"/>
          <p:cNvSpPr txBox="1"/>
          <p:nvPr/>
        </p:nvSpPr>
        <p:spPr>
          <a:xfrm>
            <a:off x="10917244" y="3415360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C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0" name="CuadroTexto 129"/>
          <p:cNvSpPr txBox="1"/>
          <p:nvPr/>
        </p:nvSpPr>
        <p:spPr>
          <a:xfrm>
            <a:off x="8945468" y="3748263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Algorithms analysi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1" name="CuadroTexto 130"/>
          <p:cNvSpPr txBox="1"/>
          <p:nvPr/>
        </p:nvSpPr>
        <p:spPr>
          <a:xfrm>
            <a:off x="10917244" y="3748263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2" name="CuadroTexto 131"/>
          <p:cNvSpPr txBox="1"/>
          <p:nvPr/>
        </p:nvSpPr>
        <p:spPr>
          <a:xfrm>
            <a:off x="8945469" y="4072918"/>
            <a:ext cx="1737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Fuzzy logic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3" name="CuadroTexto 132"/>
          <p:cNvSpPr txBox="1"/>
          <p:nvPr/>
        </p:nvSpPr>
        <p:spPr>
          <a:xfrm>
            <a:off x="10917244" y="4148419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34" name="CuadroTexto 133"/>
          <p:cNvSpPr txBox="1"/>
          <p:nvPr/>
        </p:nvSpPr>
        <p:spPr>
          <a:xfrm>
            <a:off x="8946866" y="4443432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Compare results of different analysi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5" name="CuadroTexto 134"/>
          <p:cNvSpPr txBox="1"/>
          <p:nvPr/>
        </p:nvSpPr>
        <p:spPr>
          <a:xfrm>
            <a:off x="10918642" y="4518933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36" name="CuadroTexto 135"/>
          <p:cNvSpPr txBox="1"/>
          <p:nvPr/>
        </p:nvSpPr>
        <p:spPr>
          <a:xfrm>
            <a:off x="8948264" y="4897836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uplicat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of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the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data</a:t>
            </a:r>
          </a:p>
        </p:txBody>
      </p:sp>
      <p:sp>
        <p:nvSpPr>
          <p:cNvPr id="137" name="CuadroTexto 136"/>
          <p:cNvSpPr txBox="1"/>
          <p:nvPr/>
        </p:nvSpPr>
        <p:spPr>
          <a:xfrm>
            <a:off x="10920040" y="4897836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38" name="CuadroTexto 137"/>
          <p:cNvSpPr txBox="1"/>
          <p:nvPr/>
        </p:nvSpPr>
        <p:spPr>
          <a:xfrm>
            <a:off x="8949662" y="5259961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ata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loading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in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various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format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39" name="CuadroTexto 138"/>
          <p:cNvSpPr txBox="1"/>
          <p:nvPr/>
        </p:nvSpPr>
        <p:spPr>
          <a:xfrm>
            <a:off x="10921438" y="5352240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40" name="CuadroTexto 139"/>
          <p:cNvSpPr txBox="1"/>
          <p:nvPr/>
        </p:nvSpPr>
        <p:spPr>
          <a:xfrm>
            <a:off x="8945467" y="2293761"/>
            <a:ext cx="2079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Export relevant data in csv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41" name="CuadroTexto 140"/>
          <p:cNvSpPr txBox="1"/>
          <p:nvPr/>
        </p:nvSpPr>
        <p:spPr>
          <a:xfrm>
            <a:off x="10917244" y="2293761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42" name="CuadroTexto 141"/>
          <p:cNvSpPr txBox="1"/>
          <p:nvPr/>
        </p:nvSpPr>
        <p:spPr>
          <a:xfrm>
            <a:off x="8945468" y="2626804"/>
            <a:ext cx="2079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ulti-account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participant</a:t>
            </a: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view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43" name="CuadroTexto 142"/>
          <p:cNvSpPr txBox="1"/>
          <p:nvPr/>
        </p:nvSpPr>
        <p:spPr>
          <a:xfrm>
            <a:off x="10917244" y="2685527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SGO</a:t>
            </a: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FC32F7-3AC7-4E51-9887-9CB4B0C61C58}"/>
              </a:ext>
            </a:extLst>
          </p:cNvPr>
          <p:cNvSpPr/>
          <p:nvPr/>
        </p:nvSpPr>
        <p:spPr>
          <a:xfrm>
            <a:off x="3428141" y="2310989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BC6864A-5250-4BF9-88F9-A615D9C7A778}"/>
              </a:ext>
            </a:extLst>
          </p:cNvPr>
          <p:cNvSpPr/>
          <p:nvPr/>
        </p:nvSpPr>
        <p:spPr>
          <a:xfrm>
            <a:off x="3436107" y="3411620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63F5B04-9E49-4A3D-8375-9A46DA639533}"/>
              </a:ext>
            </a:extLst>
          </p:cNvPr>
          <p:cNvSpPr/>
          <p:nvPr/>
        </p:nvSpPr>
        <p:spPr>
          <a:xfrm>
            <a:off x="3435043" y="3650122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F289EBF-6D91-48EB-AF67-B03B10B303E9}"/>
              </a:ext>
            </a:extLst>
          </p:cNvPr>
          <p:cNvSpPr/>
          <p:nvPr/>
        </p:nvSpPr>
        <p:spPr>
          <a:xfrm>
            <a:off x="3433651" y="3900102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E78796C-D642-4FE4-89B2-C545759AF8CE}"/>
              </a:ext>
            </a:extLst>
          </p:cNvPr>
          <p:cNvSpPr/>
          <p:nvPr/>
        </p:nvSpPr>
        <p:spPr>
          <a:xfrm>
            <a:off x="3435043" y="2885567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2FC9F5D-879B-43C6-80B1-1697E8063C16}"/>
              </a:ext>
            </a:extLst>
          </p:cNvPr>
          <p:cNvSpPr/>
          <p:nvPr/>
        </p:nvSpPr>
        <p:spPr>
          <a:xfrm>
            <a:off x="3429817" y="4247901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13826601-18BB-468D-9665-BAB75FAEBB89}"/>
              </a:ext>
            </a:extLst>
          </p:cNvPr>
          <p:cNvSpPr/>
          <p:nvPr/>
        </p:nvSpPr>
        <p:spPr>
          <a:xfrm>
            <a:off x="3432756" y="4710332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006B7CE-1C98-451E-A129-53E64F7F5708}"/>
              </a:ext>
            </a:extLst>
          </p:cNvPr>
          <p:cNvSpPr/>
          <p:nvPr/>
        </p:nvSpPr>
        <p:spPr>
          <a:xfrm>
            <a:off x="3428141" y="2584191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919A5BC6-93AC-4E0B-8727-CAAD076941BE}"/>
              </a:ext>
            </a:extLst>
          </p:cNvPr>
          <p:cNvSpPr/>
          <p:nvPr/>
        </p:nvSpPr>
        <p:spPr>
          <a:xfrm>
            <a:off x="3437774" y="5377999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3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1A24AE3A-7A1C-461E-908F-05BD65408CCF}"/>
              </a:ext>
            </a:extLst>
          </p:cNvPr>
          <p:cNvSpPr/>
          <p:nvPr/>
        </p:nvSpPr>
        <p:spPr>
          <a:xfrm>
            <a:off x="3434407" y="5100698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E61FD41-0C12-4D95-ABBA-F26FBD12EC7F}"/>
              </a:ext>
            </a:extLst>
          </p:cNvPr>
          <p:cNvSpPr/>
          <p:nvPr/>
        </p:nvSpPr>
        <p:spPr>
          <a:xfrm>
            <a:off x="3429213" y="5625106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3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57FF24D-DE33-4C35-A4B0-95E4A78F3A5A}"/>
              </a:ext>
            </a:extLst>
          </p:cNvPr>
          <p:cNvSpPr/>
          <p:nvPr/>
        </p:nvSpPr>
        <p:spPr>
          <a:xfrm>
            <a:off x="3429213" y="5929057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E26A8CE1-A828-441B-B814-A31548FE65E8}"/>
              </a:ext>
            </a:extLst>
          </p:cNvPr>
          <p:cNvSpPr/>
          <p:nvPr/>
        </p:nvSpPr>
        <p:spPr>
          <a:xfrm>
            <a:off x="4142564" y="1458307"/>
            <a:ext cx="111384" cy="1034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1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9205193-1F15-4F76-9158-5FC1E6A3FC58}"/>
              </a:ext>
            </a:extLst>
          </p:cNvPr>
          <p:cNvSpPr/>
          <p:nvPr/>
        </p:nvSpPr>
        <p:spPr>
          <a:xfrm>
            <a:off x="4887835" y="1459559"/>
            <a:ext cx="111384" cy="1034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2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A8A6576-8BBF-4826-8B29-B85A98873A1F}"/>
              </a:ext>
            </a:extLst>
          </p:cNvPr>
          <p:cNvSpPr/>
          <p:nvPr/>
        </p:nvSpPr>
        <p:spPr>
          <a:xfrm>
            <a:off x="5722620" y="1459559"/>
            <a:ext cx="111384" cy="1034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3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B13FA36B-6041-4DCA-BA3F-7DA7FC5A0CC5}"/>
              </a:ext>
            </a:extLst>
          </p:cNvPr>
          <p:cNvSpPr/>
          <p:nvPr/>
        </p:nvSpPr>
        <p:spPr>
          <a:xfrm>
            <a:off x="7368043" y="6525998"/>
            <a:ext cx="223463" cy="1865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n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884DAE8-E4EB-43E8-9692-9529EDBD2AF5}"/>
              </a:ext>
            </a:extLst>
          </p:cNvPr>
          <p:cNvSpPr txBox="1"/>
          <p:nvPr/>
        </p:nvSpPr>
        <p:spPr>
          <a:xfrm>
            <a:off x="7591327" y="6494866"/>
            <a:ext cx="916662" cy="253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Priority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order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/>
              <a:ea typeface="+mn-ea"/>
              <a:cs typeface="+mn-cs"/>
            </a:endParaRPr>
          </a:p>
        </p:txBody>
      </p:sp>
      <p:sp>
        <p:nvSpPr>
          <p:cNvPr id="160" name="CuadroTexto 119">
            <a:extLst>
              <a:ext uri="{FF2B5EF4-FFF2-40B4-BE49-F238E27FC236}">
                <a16:creationId xmlns:a16="http://schemas.microsoft.com/office/drawing/2014/main" id="{D7422EA4-98B4-4FC9-9378-82E3BBFA509F}"/>
              </a:ext>
            </a:extLst>
          </p:cNvPr>
          <p:cNvSpPr txBox="1"/>
          <p:nvPr/>
        </p:nvSpPr>
        <p:spPr>
          <a:xfrm>
            <a:off x="6185664" y="4873885"/>
            <a:ext cx="1820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nagement of </a:t>
            </a:r>
            <a:r>
              <a:rPr kumimoji="0" lang="es-E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deterministic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 rules </a:t>
            </a:r>
          </a:p>
        </p:txBody>
      </p:sp>
      <p:sp>
        <p:nvSpPr>
          <p:cNvPr id="161" name="CuadroTexto 120">
            <a:extLst>
              <a:ext uri="{FF2B5EF4-FFF2-40B4-BE49-F238E27FC236}">
                <a16:creationId xmlns:a16="http://schemas.microsoft.com/office/drawing/2014/main" id="{1CE3836C-29BC-4325-91DB-B27390522EA7}"/>
              </a:ext>
            </a:extLst>
          </p:cNvPr>
          <p:cNvSpPr txBox="1"/>
          <p:nvPr/>
        </p:nvSpPr>
        <p:spPr>
          <a:xfrm>
            <a:off x="8147476" y="4880441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  <p:sp>
        <p:nvSpPr>
          <p:cNvPr id="150" name="CuadroTexto 137">
            <a:extLst>
              <a:ext uri="{FF2B5EF4-FFF2-40B4-BE49-F238E27FC236}">
                <a16:creationId xmlns:a16="http://schemas.microsoft.com/office/drawing/2014/main" id="{F6577DC1-2628-4FC3-850C-13D098C842C1}"/>
              </a:ext>
            </a:extLst>
          </p:cNvPr>
          <p:cNvSpPr txBox="1"/>
          <p:nvPr/>
        </p:nvSpPr>
        <p:spPr>
          <a:xfrm>
            <a:off x="8955010" y="5671853"/>
            <a:ext cx="1820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Manual alerts</a:t>
            </a:r>
          </a:p>
        </p:txBody>
      </p:sp>
      <p:sp>
        <p:nvSpPr>
          <p:cNvPr id="152" name="CuadroTexto 138">
            <a:extLst>
              <a:ext uri="{FF2B5EF4-FFF2-40B4-BE49-F238E27FC236}">
                <a16:creationId xmlns:a16="http://schemas.microsoft.com/office/drawing/2014/main" id="{14091715-5F67-43B9-889D-603F51113A3C}"/>
              </a:ext>
            </a:extLst>
          </p:cNvPr>
          <p:cNvSpPr txBox="1"/>
          <p:nvPr/>
        </p:nvSpPr>
        <p:spPr>
          <a:xfrm>
            <a:off x="10926786" y="5714909"/>
            <a:ext cx="796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/>
                <a:ea typeface="+mn-ea"/>
                <a:cs typeface="+mn-cs"/>
              </a:rPr>
              <a:t>GFFC</a:t>
            </a:r>
          </a:p>
        </p:txBody>
      </p:sp>
    </p:spTree>
    <p:extLst>
      <p:ext uri="{BB962C8B-B14F-4D97-AF65-F5344CB8AC3E}">
        <p14:creationId xmlns:p14="http://schemas.microsoft.com/office/powerpoint/2010/main" val="803260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WnUstTRhab.oBzaA7.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Tema de Office">
  <a:themeElements>
    <a:clrScheme name="SANTANDER 2018">
      <a:dk1>
        <a:sysClr val="windowText" lastClr="000000"/>
      </a:dk1>
      <a:lt1>
        <a:srgbClr val="FFFFFF"/>
      </a:lt1>
      <a:dk2>
        <a:srgbClr val="595959"/>
      </a:dk2>
      <a:lt2>
        <a:srgbClr val="E7E6E6"/>
      </a:lt2>
      <a:accent1>
        <a:srgbClr val="EC0000"/>
      </a:accent1>
      <a:accent2>
        <a:srgbClr val="C00000"/>
      </a:accent2>
      <a:accent3>
        <a:srgbClr val="9E3667"/>
      </a:accent3>
      <a:accent4>
        <a:srgbClr val="63BA68"/>
      </a:accent4>
      <a:accent5>
        <a:srgbClr val="9BC3D3"/>
      </a:accent5>
      <a:accent6>
        <a:srgbClr val="FFCC33"/>
      </a:accent6>
      <a:hlink>
        <a:srgbClr val="9E3667"/>
      </a:hlink>
      <a:folHlink>
        <a:srgbClr val="C3DEE7"/>
      </a:folHlink>
    </a:clrScheme>
    <a:fontScheme name="Santander Text">
      <a:majorFont>
        <a:latin typeface="santander Headline"/>
        <a:ea typeface=""/>
        <a:cs typeface=""/>
      </a:majorFont>
      <a:minorFont>
        <a:latin typeface="Santander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SANTANDER 2018">
      <a:dk1>
        <a:sysClr val="windowText" lastClr="000000"/>
      </a:dk1>
      <a:lt1>
        <a:srgbClr val="FFFFFF"/>
      </a:lt1>
      <a:dk2>
        <a:srgbClr val="595959"/>
      </a:dk2>
      <a:lt2>
        <a:srgbClr val="E7E6E6"/>
      </a:lt2>
      <a:accent1>
        <a:srgbClr val="EC0000"/>
      </a:accent1>
      <a:accent2>
        <a:srgbClr val="C00000"/>
      </a:accent2>
      <a:accent3>
        <a:srgbClr val="9E3667"/>
      </a:accent3>
      <a:accent4>
        <a:srgbClr val="63BA68"/>
      </a:accent4>
      <a:accent5>
        <a:srgbClr val="9BC3D3"/>
      </a:accent5>
      <a:accent6>
        <a:srgbClr val="FFCC33"/>
      </a:accent6>
      <a:hlink>
        <a:srgbClr val="9E3667"/>
      </a:hlink>
      <a:folHlink>
        <a:srgbClr val="C3DEE7"/>
      </a:folHlink>
    </a:clrScheme>
    <a:fontScheme name="Santander Text">
      <a:majorFont>
        <a:latin typeface="santander Headline"/>
        <a:ea typeface=""/>
        <a:cs typeface=""/>
      </a:majorFont>
      <a:minorFont>
        <a:latin typeface="Santander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DDA8D16D7B4B94FB7B3372281E3B58D" ma:contentTypeVersion="12" ma:contentTypeDescription="Crear nuevo documento." ma:contentTypeScope="" ma:versionID="c8b583f5e4235d47daef6fff9d51d6dc">
  <xsd:schema xmlns:xsd="http://www.w3.org/2001/XMLSchema" xmlns:xs="http://www.w3.org/2001/XMLSchema" xmlns:p="http://schemas.microsoft.com/office/2006/metadata/properties" xmlns:ns2="a04c51e7-a9f9-4685-8731-9ec5e4b3a67b" xmlns:ns3="ef1582ae-adad-4b11-94b4-c36192b00f2a" targetNamespace="http://schemas.microsoft.com/office/2006/metadata/properties" ma:root="true" ma:fieldsID="39a9c78909c7f5c7b1ed03bc83063d05" ns2:_="" ns3:_="">
    <xsd:import namespace="a04c51e7-a9f9-4685-8731-9ec5e4b3a67b"/>
    <xsd:import namespace="ef1582ae-adad-4b11-94b4-c36192b00f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c51e7-a9f9-4685-8731-9ec5e4b3a6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1582ae-adad-4b11-94b4-c36192b00f2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1C3AE3-DE6C-4519-A415-00628696C7D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DC360A-D83C-46EF-88C1-9E3B03E36278}">
  <ds:schemaRefs>
    <ds:schemaRef ds:uri="a04c51e7-a9f9-4685-8731-9ec5e4b3a67b"/>
    <ds:schemaRef ds:uri="ef1582ae-adad-4b11-94b4-c36192b00f2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C23CE8-CA5D-492A-9905-F6D804DE1775}">
  <ds:schemaRefs>
    <ds:schemaRef ds:uri="http://schemas.microsoft.com/sharepoint/v3/contenttype/forms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805638</vt:lpwstr>
  </property>
  <property fmtid="{D5CDD505-2E9C-101B-9397-08002B2CF9AE}" pid="4" name="OptimizationTime">
    <vt:lpwstr>20220520_1333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9</Words>
  <Application>Microsoft Office PowerPoint</Application>
  <PresentationFormat>Widescreen</PresentationFormat>
  <Paragraphs>23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-apple-system</vt:lpstr>
      <vt:lpstr>Arial</vt:lpstr>
      <vt:lpstr>Calibri</vt:lpstr>
      <vt:lpstr>Santander Headline</vt:lpstr>
      <vt:lpstr>Santander Headline</vt:lpstr>
      <vt:lpstr>Santander Text</vt:lpstr>
      <vt:lpstr>Santander Text Light</vt:lpstr>
      <vt:lpstr>Wingdings</vt:lpstr>
      <vt:lpstr>3_Tema de Office</vt:lpstr>
      <vt:lpstr>1_Tema de Office</vt:lpstr>
      <vt:lpstr>think-cell Slide</vt:lpstr>
      <vt:lpstr>ThetaRay v5 vs v6 </vt:lpstr>
      <vt:lpstr>ThetaRay version comparison</vt:lpstr>
      <vt:lpstr>Technical Roadmap 2022 </vt:lpstr>
      <vt:lpstr>Functional Roadmap 2022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taRay </dc:title>
  <dc:creator>Cristina Rodriguez Villalba</dc:creator>
  <cp:lastModifiedBy>Cristina Rodriguez Villalba</cp:lastModifiedBy>
  <cp:revision>1</cp:revision>
  <dcterms:created xsi:type="dcterms:W3CDTF">2022-05-20T07:06:17Z</dcterms:created>
  <dcterms:modified xsi:type="dcterms:W3CDTF">2022-05-20T11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DA8D16D7B4B94FB7B3372281E3B58D</vt:lpwstr>
  </property>
</Properties>
</file>